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3.xml" ContentType="application/vnd.openxmlformats-officedocument.theme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4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5.xml" ContentType="application/vnd.openxmlformats-officedocument.theme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heme/theme6.xml" ContentType="application/vnd.openxmlformats-officedocument.theme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theme/theme7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theme/theme8.xml" ContentType="application/vnd.openxmlformats-officedocument.theme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theme/theme9.xml" ContentType="application/vnd.openxmlformats-officedocument.theme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theme/theme10.xml" ContentType="application/vnd.openxmlformats-officedocument.theme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theme/theme11.xml" ContentType="application/vnd.openxmlformats-officedocument.them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theme/theme12.xml" ContentType="application/vnd.openxmlformats-officedocument.theme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theme/theme13.xml" ContentType="application/vnd.openxmlformats-officedocument.them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theme/theme14.xml" ContentType="application/vnd.openxmlformats-officedocument.them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heme/theme15.xml" ContentType="application/vnd.openxmlformats-officedocument.them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5" r:id="rId1"/>
    <p:sldMasterId id="2147483667" r:id="rId2"/>
    <p:sldMasterId id="2147483691" r:id="rId3"/>
    <p:sldMasterId id="2147483772" r:id="rId4"/>
    <p:sldMasterId id="2147483792" r:id="rId5"/>
    <p:sldMasterId id="2147483848" r:id="rId6"/>
    <p:sldMasterId id="2147483867" r:id="rId7"/>
    <p:sldMasterId id="2147483912" r:id="rId8"/>
    <p:sldMasterId id="2147483932" r:id="rId9"/>
    <p:sldMasterId id="2147484093" r:id="rId10"/>
    <p:sldMasterId id="2147484173" r:id="rId11"/>
    <p:sldMasterId id="2147484195" r:id="rId12"/>
    <p:sldMasterId id="2147484259" r:id="rId13"/>
    <p:sldMasterId id="2147484341" r:id="rId14"/>
  </p:sldMasterIdLst>
  <p:notesMasterIdLst>
    <p:notesMasterId r:id="rId16"/>
  </p:notesMasterIdLst>
  <p:sldIdLst>
    <p:sldId id="1053" r:id="rId15"/>
  </p:sldIdLst>
  <p:sldSz cx="12192000" cy="6858000"/>
  <p:notesSz cx="6858000" cy="9144000"/>
  <p:defaultTextStyle>
    <a:defPPr>
      <a:defRPr lang="zh-TW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Winnie Shih" initials="WS" lastIdx="39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1FFBA"/>
    <a:srgbClr val="E11FC5"/>
    <a:srgbClr val="DEEBF7"/>
    <a:srgbClr val="79FFB6"/>
    <a:srgbClr val="F2E5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E9252BF1-4109-49FB-BDC9-506AAABB0BF6}" v="9" dt="2021-12-14T06:42:07.100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0669" autoAdjust="0"/>
    <p:restoredTop sz="96261" autoAdjust="0"/>
  </p:normalViewPr>
  <p:slideViewPr>
    <p:cSldViewPr>
      <p:cViewPr varScale="1">
        <p:scale>
          <a:sx n="105" d="100"/>
          <a:sy n="105" d="100"/>
        </p:scale>
        <p:origin x="504" y="-6"/>
      </p:cViewPr>
      <p:guideLst>
        <p:guide orient="horz" pos="2160"/>
        <p:guide pos="384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Master" Target="slideMasters/slideMaster13.xml"/><Relationship Id="rId18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21" Type="http://schemas.openxmlformats.org/officeDocument/2006/relationships/tableStyles" Target="tableStyles.xml"/><Relationship Id="rId7" Type="http://schemas.openxmlformats.org/officeDocument/2006/relationships/slideMaster" Target="slideMasters/slideMaster7.xml"/><Relationship Id="rId12" Type="http://schemas.openxmlformats.org/officeDocument/2006/relationships/slideMaster" Target="slideMasters/slideMaster12.xml"/><Relationship Id="rId17" Type="http://schemas.openxmlformats.org/officeDocument/2006/relationships/commentAuthors" Target="commentAuthors.xml"/><Relationship Id="rId2" Type="http://schemas.openxmlformats.org/officeDocument/2006/relationships/slideMaster" Target="slideMasters/slideMaster2.xml"/><Relationship Id="rId16" Type="http://schemas.openxmlformats.org/officeDocument/2006/relationships/notesMaster" Target="notesMasters/notesMaster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1.xml"/><Relationship Id="rId23" Type="http://schemas.microsoft.com/office/2015/10/relationships/revisionInfo" Target="revisionInfo.xml"/><Relationship Id="rId10" Type="http://schemas.openxmlformats.org/officeDocument/2006/relationships/slideMaster" Target="slideMasters/slideMaster10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Master" Target="slideMasters/slideMaster14.xml"/><Relationship Id="rId22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indy CHAO" userId="11bb1de2-e5b3-42a9-9eaa-2e478b20a9ca" providerId="ADAL" clId="{E9252BF1-4109-49FB-BDC9-506AAABB0BF6}"/>
    <pc:docChg chg="custSel modSld">
      <pc:chgData name="Mindy CHAO" userId="11bb1de2-e5b3-42a9-9eaa-2e478b20a9ca" providerId="ADAL" clId="{E9252BF1-4109-49FB-BDC9-506AAABB0BF6}" dt="2021-12-14T06:49:05.263" v="123" actId="20577"/>
      <pc:docMkLst>
        <pc:docMk/>
      </pc:docMkLst>
      <pc:sldChg chg="addSp delSp modSp mod">
        <pc:chgData name="Mindy CHAO" userId="11bb1de2-e5b3-42a9-9eaa-2e478b20a9ca" providerId="ADAL" clId="{E9252BF1-4109-49FB-BDC9-506AAABB0BF6}" dt="2021-12-14T06:49:05.263" v="123" actId="20577"/>
        <pc:sldMkLst>
          <pc:docMk/>
          <pc:sldMk cId="4139518821" sldId="1053"/>
        </pc:sldMkLst>
        <pc:spChg chg="mod">
          <ac:chgData name="Mindy CHAO" userId="11bb1de2-e5b3-42a9-9eaa-2e478b20a9ca" providerId="ADAL" clId="{E9252BF1-4109-49FB-BDC9-506AAABB0BF6}" dt="2021-12-14T06:37:21.541" v="15" actId="20577"/>
          <ac:spMkLst>
            <pc:docMk/>
            <pc:sldMk cId="4139518821" sldId="1053"/>
            <ac:spMk id="2" creationId="{00000000-0000-0000-0000-000000000000}"/>
          </ac:spMkLst>
        </pc:spChg>
        <pc:spChg chg="mod">
          <ac:chgData name="Mindy CHAO" userId="11bb1de2-e5b3-42a9-9eaa-2e478b20a9ca" providerId="ADAL" clId="{E9252BF1-4109-49FB-BDC9-506AAABB0BF6}" dt="2021-12-14T06:42:07.088" v="119" actId="20577"/>
          <ac:spMkLst>
            <pc:docMk/>
            <pc:sldMk cId="4139518821" sldId="1053"/>
            <ac:spMk id="8" creationId="{C9325D20-6F1A-4996-A630-0D2C75BC4F48}"/>
          </ac:spMkLst>
        </pc:spChg>
        <pc:graphicFrameChg chg="mod modGraphic">
          <ac:chgData name="Mindy CHAO" userId="11bb1de2-e5b3-42a9-9eaa-2e478b20a9ca" providerId="ADAL" clId="{E9252BF1-4109-49FB-BDC9-506AAABB0BF6}" dt="2021-12-14T06:49:05.263" v="123" actId="20577"/>
          <ac:graphicFrameMkLst>
            <pc:docMk/>
            <pc:sldMk cId="4139518821" sldId="1053"/>
            <ac:graphicFrameMk id="6" creationId="{00000000-0000-0000-0000-000000000000}"/>
          </ac:graphicFrameMkLst>
        </pc:graphicFrameChg>
        <pc:graphicFrameChg chg="add del mod">
          <ac:chgData name="Mindy CHAO" userId="11bb1de2-e5b3-42a9-9eaa-2e478b20a9ca" providerId="ADAL" clId="{E9252BF1-4109-49FB-BDC9-506AAABB0BF6}" dt="2021-12-14T06:41:41.381" v="110" actId="478"/>
          <ac:graphicFrameMkLst>
            <pc:docMk/>
            <pc:sldMk cId="4139518821" sldId="1053"/>
            <ac:graphicFrameMk id="9" creationId="{CEE9E3A7-AEE4-49B9-8C3E-3558C931A126}"/>
          </ac:graphicFrameMkLst>
        </pc:graphicFrame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TW" alt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F9F98F8-8042-4E6B-8F7A-553BBD9CE659}" type="datetimeFigureOut">
              <a:rPr lang="zh-TW" altLang="en-US" smtClean="0"/>
              <a:t>2021/12/14</a:t>
            </a:fld>
            <a:endParaRPr lang="zh-TW" alt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TW" alt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altLang="zh-TW"/>
              <a:t>Click to edit Master text styles</a:t>
            </a:r>
          </a:p>
          <a:p>
            <a:pPr lvl="1"/>
            <a:r>
              <a:rPr lang="en-US" altLang="zh-TW"/>
              <a:t>Second level</a:t>
            </a:r>
          </a:p>
          <a:p>
            <a:pPr lvl="2"/>
            <a:r>
              <a:rPr lang="en-US" altLang="zh-TW"/>
              <a:t>Third level</a:t>
            </a:r>
          </a:p>
          <a:p>
            <a:pPr lvl="3"/>
            <a:r>
              <a:rPr lang="en-US" altLang="zh-TW"/>
              <a:t>Fourth level</a:t>
            </a:r>
          </a:p>
          <a:p>
            <a:pPr lvl="4"/>
            <a:r>
              <a:rPr lang="en-US" altLang="zh-TW"/>
              <a:t>Fifth level</a:t>
            </a:r>
            <a:endParaRPr lang="zh-TW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TW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33AF10F-8DF1-43AC-BDE9-C72857065CFD}" type="slidenum">
              <a:rPr lang="zh-TW" altLang="en-US" smtClean="0"/>
              <a:t>‹#›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26405648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9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9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1.xml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1.xml"/></Relationships>
</file>

<file path=ppt/slideLayouts/_rels/slideLayout1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1.xml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1.xml"/><Relationship Id="rId1" Type="http://schemas.openxmlformats.org/officeDocument/2006/relationships/tags" Target="../tags/tag19.xml"/><Relationship Id="rId5" Type="http://schemas.openxmlformats.org/officeDocument/2006/relationships/image" Target="../media/image5.png"/><Relationship Id="rId4" Type="http://schemas.openxmlformats.org/officeDocument/2006/relationships/image" Target="../media/image14.emf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1.xml"/><Relationship Id="rId1" Type="http://schemas.openxmlformats.org/officeDocument/2006/relationships/tags" Target="../tags/tag20.xml"/><Relationship Id="rId5" Type="http://schemas.openxmlformats.org/officeDocument/2006/relationships/image" Target="../media/image5.png"/><Relationship Id="rId4" Type="http://schemas.openxmlformats.org/officeDocument/2006/relationships/image" Target="../media/image14.emf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1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2.xml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2.xml"/></Relationships>
</file>

<file path=ppt/slideLayouts/_rels/slideLayout1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2.xml"/></Relationships>
</file>

<file path=ppt/slideLayouts/_rels/slideLayout1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2.xml"/></Relationships>
</file>

<file path=ppt/slideLayouts/_rels/slideLayout1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2.xml"/></Relationships>
</file>

<file path=ppt/slideLayouts/_rels/slideLayout1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2.xml"/></Relationships>
</file>

<file path=ppt/slideLayouts/_rels/slideLayout1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2.xml"/></Relationships>
</file>

<file path=ppt/slideLayouts/_rels/slideLayout1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2.xml"/></Relationships>
</file>

<file path=ppt/slideLayouts/_rels/slideLayout1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2.xml"/></Relationships>
</file>

<file path=ppt/slideLayouts/_rels/slideLayout1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1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2.xml"/></Relationships>
</file>

<file path=ppt/slideLayouts/_rels/slideLayout1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2.xml"/></Relationships>
</file>

<file path=ppt/slideLayouts/_rels/slideLayout1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2.xml"/></Relationships>
</file>

<file path=ppt/slideLayouts/_rels/slideLayout1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2.xml"/></Relationships>
</file>

<file path=ppt/slideLayouts/_rels/slideLayout1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2.xml"/></Relationships>
</file>

<file path=ppt/slideLayouts/_rels/slideLayout1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2.xml"/></Relationships>
</file>

<file path=ppt/slideLayouts/_rels/slideLayout1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2.xml"/></Relationships>
</file>

<file path=ppt/slideLayouts/_rels/slideLayout1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2.xml"/></Relationships>
</file>

<file path=ppt/slideLayouts/_rels/slideLayout1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2.xml"/></Relationships>
</file>

<file path=ppt/slideLayouts/_rels/slideLayout1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1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2.xml"/></Relationships>
</file>

<file path=ppt/slideLayouts/_rels/slideLayout1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2.xml"/></Relationships>
</file>

<file path=ppt/slideLayouts/_rels/slideLayout1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2.xml"/></Relationships>
</file>

<file path=ppt/slideLayouts/_rels/slideLayout1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2.xml"/></Relationships>
</file>

<file path=ppt/slideLayouts/_rels/slideLayout1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2.xml"/></Relationships>
</file>

<file path=ppt/slideLayouts/_rels/slideLayout1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2.xml"/></Relationships>
</file>

<file path=ppt/slideLayouts/_rels/slideLayout1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2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3.xml"/></Relationships>
</file>

<file path=ppt/slideLayouts/_rels/slideLayout1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3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1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3.xml"/></Relationships>
</file>

<file path=ppt/slideLayouts/_rels/slideLayout15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3.xml"/><Relationship Id="rId1" Type="http://schemas.openxmlformats.org/officeDocument/2006/relationships/tags" Target="../tags/tag23.xml"/><Relationship Id="rId5" Type="http://schemas.openxmlformats.org/officeDocument/2006/relationships/image" Target="../media/image5.png"/><Relationship Id="rId4" Type="http://schemas.openxmlformats.org/officeDocument/2006/relationships/image" Target="../media/image14.emf"/></Relationships>
</file>

<file path=ppt/slideLayouts/_rels/slideLayout15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3.xml"/><Relationship Id="rId1" Type="http://schemas.openxmlformats.org/officeDocument/2006/relationships/tags" Target="../tags/tag24.xml"/><Relationship Id="rId5" Type="http://schemas.openxmlformats.org/officeDocument/2006/relationships/image" Target="../media/image5.png"/><Relationship Id="rId4" Type="http://schemas.openxmlformats.org/officeDocument/2006/relationships/image" Target="../media/image14.emf"/></Relationships>
</file>

<file path=ppt/slideLayouts/_rels/slideLayout1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3.xml"/></Relationships>
</file>

<file path=ppt/slideLayouts/_rels/slideLayout1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3.xml"/></Relationships>
</file>

<file path=ppt/slideLayouts/_rels/slideLayout1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4.xml"/></Relationships>
</file>

<file path=ppt/slideLayouts/_rels/slideLayout1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4.xml"/></Relationships>
</file>

<file path=ppt/slideLayouts/_rels/slideLayout1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4.xml"/></Relationships>
</file>

<file path=ppt/slideLayouts/_rels/slideLayout15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4.xml"/><Relationship Id="rId1" Type="http://schemas.openxmlformats.org/officeDocument/2006/relationships/tags" Target="../tags/tag27.xml"/><Relationship Id="rId5" Type="http://schemas.openxmlformats.org/officeDocument/2006/relationships/image" Target="../media/image5.png"/><Relationship Id="rId4" Type="http://schemas.openxmlformats.org/officeDocument/2006/relationships/image" Target="../media/image14.emf"/></Relationships>
</file>

<file path=ppt/slideLayouts/_rels/slideLayout15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4.xml"/><Relationship Id="rId1" Type="http://schemas.openxmlformats.org/officeDocument/2006/relationships/tags" Target="../tags/tag28.xml"/><Relationship Id="rId5" Type="http://schemas.openxmlformats.org/officeDocument/2006/relationships/image" Target="../media/image5.png"/><Relationship Id="rId4" Type="http://schemas.openxmlformats.org/officeDocument/2006/relationships/image" Target="../media/image14.emf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1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4.xml"/></Relationships>
</file>

<file path=ppt/slideLayouts/_rels/slideLayout1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4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tags" Target="../tags/tag3.xml"/><Relationship Id="rId7" Type="http://schemas.openxmlformats.org/officeDocument/2006/relationships/oleObject" Target="../embeddings/oleObject1.bin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5.xml"/><Relationship Id="rId4" Type="http://schemas.openxmlformats.org/officeDocument/2006/relationships/tags" Target="../tags/tag4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6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6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6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6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6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6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6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6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6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6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6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6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7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7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7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7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7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7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7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7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7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7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7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7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tags" Target="../tags/tag8.xml"/><Relationship Id="rId7" Type="http://schemas.openxmlformats.org/officeDocument/2006/relationships/oleObject" Target="../embeddings/oleObject2.bin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slideMaster" Target="../slideMasters/slideMaster4.xml"/><Relationship Id="rId5" Type="http://schemas.openxmlformats.org/officeDocument/2006/relationships/tags" Target="../tags/tag10.xml"/><Relationship Id="rId4" Type="http://schemas.openxmlformats.org/officeDocument/2006/relationships/tags" Target="../tags/tag9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7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7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tags" Target="../tags/tag13.xml"/><Relationship Id="rId7" Type="http://schemas.openxmlformats.org/officeDocument/2006/relationships/oleObject" Target="../embeddings/oleObject3.bin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slideMaster" Target="../slideMasters/slideMaster7.xml"/><Relationship Id="rId5" Type="http://schemas.openxmlformats.org/officeDocument/2006/relationships/tags" Target="../tags/tag15.xml"/><Relationship Id="rId4" Type="http://schemas.openxmlformats.org/officeDocument/2006/relationships/tags" Target="../tags/tag14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16.xml"/><Relationship Id="rId4" Type="http://schemas.openxmlformats.org/officeDocument/2006/relationships/image" Target="../media/image9.emf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8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8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8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8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8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8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8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8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8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8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8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8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8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8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9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9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9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9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9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9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9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9.xml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9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9.xml"/></Relationships>
</file>

<file path=ppt/slideLayouts/_rels/slideLayout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9.xml"/></Relationships>
</file>

<file path=ppt/slideLayouts/_rels/slideLayout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9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5954" name="Picture 10" descr="BI-Logo_36pt_blue_neg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983133" y="5937251"/>
            <a:ext cx="2878667" cy="665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5955" name="Rectangle 3"/>
          <p:cNvSpPr>
            <a:spLocks noChangeArrowheads="1"/>
          </p:cNvSpPr>
          <p:nvPr/>
        </p:nvSpPr>
        <p:spPr bwMode="auto">
          <a:xfrm>
            <a:off x="0" y="1798638"/>
            <a:ext cx="12192000" cy="2519362"/>
          </a:xfrm>
          <a:prstGeom prst="rect">
            <a:avLst/>
          </a:prstGeom>
          <a:solidFill>
            <a:srgbClr val="6699CC"/>
          </a:solidFill>
          <a:ln w="12700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4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25956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3598334" y="2878138"/>
            <a:ext cx="8155517" cy="304800"/>
          </a:xfrm>
        </p:spPr>
        <p:txBody>
          <a:bodyPr>
            <a:spAutoFit/>
          </a:bodyPr>
          <a:lstStyle>
            <a:lvl1pPr>
              <a:defRPr>
                <a:solidFill>
                  <a:schemeClr val="bg1"/>
                </a:solidFill>
                <a:sym typeface="Symbol" pitchFamily="18" charset="2"/>
              </a:defRPr>
            </a:lvl1pPr>
          </a:lstStyle>
          <a:p>
            <a:r>
              <a:rPr lang="en-US" dirty="0">
                <a:sym typeface="Symbol" pitchFamily="18" charset="2"/>
              </a:rPr>
              <a:t>Click to edit Master subtitle style</a:t>
            </a:r>
          </a:p>
        </p:txBody>
      </p:sp>
      <p:sp>
        <p:nvSpPr>
          <p:cNvPr id="125957" name="Rectangle 5"/>
          <p:cNvSpPr>
            <a:spLocks noGrp="1" noChangeArrowheads="1"/>
          </p:cNvSpPr>
          <p:nvPr>
            <p:ph type="ctrTitle"/>
          </p:nvPr>
        </p:nvSpPr>
        <p:spPr>
          <a:xfrm>
            <a:off x="3598334" y="2270125"/>
            <a:ext cx="8157633" cy="427038"/>
          </a:xfrm>
          <a:noFill/>
        </p:spPr>
        <p:txBody>
          <a:bodyPr anchor="b">
            <a:spAutoFit/>
          </a:bodyPr>
          <a:lstStyle>
            <a:lvl1pPr>
              <a:defRPr sz="2800"/>
            </a:lvl1pPr>
          </a:lstStyle>
          <a:p>
            <a:r>
              <a:rPr lang="en-US" dirty="0"/>
              <a:t>Click to edit Master title style</a:t>
            </a:r>
          </a:p>
        </p:txBody>
      </p:sp>
      <p:grpSp>
        <p:nvGrpSpPr>
          <p:cNvPr id="2" name="Group 6"/>
          <p:cNvGrpSpPr>
            <a:grpSpLocks/>
          </p:cNvGrpSpPr>
          <p:nvPr/>
        </p:nvGrpSpPr>
        <p:grpSpPr bwMode="auto">
          <a:xfrm>
            <a:off x="0" y="0"/>
            <a:ext cx="12192000" cy="6858000"/>
            <a:chOff x="0" y="0"/>
            <a:chExt cx="5760" cy="4320"/>
          </a:xfrm>
        </p:grpSpPr>
        <p:sp>
          <p:nvSpPr>
            <p:cNvPr id="125959" name="Line 7"/>
            <p:cNvSpPr>
              <a:spLocks noChangeShapeType="1"/>
            </p:cNvSpPr>
            <p:nvPr/>
          </p:nvSpPr>
          <p:spPr bwMode="auto">
            <a:xfrm flipH="1">
              <a:off x="0" y="3978"/>
              <a:ext cx="5760" cy="0"/>
            </a:xfrm>
            <a:prstGeom prst="line">
              <a:avLst/>
            </a:prstGeom>
            <a:noFill/>
            <a:ln w="12700">
              <a:noFill/>
              <a:prstDash val="dash"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14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5960" name="Line 8"/>
            <p:cNvSpPr>
              <a:spLocks noChangeShapeType="1"/>
            </p:cNvSpPr>
            <p:nvPr/>
          </p:nvSpPr>
          <p:spPr bwMode="auto">
            <a:xfrm>
              <a:off x="222" y="0"/>
              <a:ext cx="0" cy="4320"/>
            </a:xfrm>
            <a:prstGeom prst="line">
              <a:avLst/>
            </a:prstGeom>
            <a:noFill/>
            <a:ln w="12700">
              <a:noFill/>
              <a:prstDash val="dash"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14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5961" name="Line 9"/>
            <p:cNvSpPr>
              <a:spLocks noChangeShapeType="1"/>
            </p:cNvSpPr>
            <p:nvPr/>
          </p:nvSpPr>
          <p:spPr bwMode="auto">
            <a:xfrm>
              <a:off x="5538" y="0"/>
              <a:ext cx="0" cy="4320"/>
            </a:xfrm>
            <a:prstGeom prst="line">
              <a:avLst/>
            </a:prstGeom>
            <a:noFill/>
            <a:ln w="12700">
              <a:noFill/>
              <a:prstDash val="dash"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14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5962" name="Line 10"/>
            <p:cNvSpPr>
              <a:spLocks noChangeShapeType="1"/>
            </p:cNvSpPr>
            <p:nvPr/>
          </p:nvSpPr>
          <p:spPr bwMode="auto">
            <a:xfrm flipH="1">
              <a:off x="0" y="874"/>
              <a:ext cx="5760" cy="0"/>
            </a:xfrm>
            <a:prstGeom prst="line">
              <a:avLst/>
            </a:prstGeom>
            <a:noFill/>
            <a:ln w="12700">
              <a:noFill/>
              <a:prstDash val="dash"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14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85093713"/>
      </p:ext>
    </p:extLst>
  </p:cSld>
  <p:clrMapOvr>
    <a:masterClrMapping/>
  </p:clrMapOvr>
  <p:transition spd="med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page_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11"/>
          <p:cNvSpPr/>
          <p:nvPr userDrawn="1"/>
        </p:nvSpPr>
        <p:spPr>
          <a:xfrm>
            <a:off x="0" y="2928494"/>
            <a:ext cx="12192000" cy="3929507"/>
          </a:xfrm>
          <a:prstGeom prst="rect">
            <a:avLst/>
          </a:prstGeom>
          <a:gradFill>
            <a:gsLst>
              <a:gs pos="0">
                <a:srgbClr val="6699CC">
                  <a:alpha val="40000"/>
                </a:srgbClr>
              </a:gs>
              <a:gs pos="100000">
                <a:srgbClr val="FFFFFF"/>
              </a:gs>
            </a:gsLst>
            <a:lin ang="162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sz="1400" dirty="0">
              <a:solidFill>
                <a:prstClr val="black"/>
              </a:solidFill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231" t="19013" b="13976"/>
          <a:stretch/>
        </p:blipFill>
        <p:spPr bwMode="auto">
          <a:xfrm>
            <a:off x="0" y="0"/>
            <a:ext cx="8573053" cy="685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24" name="Gerade Verbindung 23"/>
          <p:cNvCxnSpPr/>
          <p:nvPr/>
        </p:nvCxnSpPr>
        <p:spPr>
          <a:xfrm>
            <a:off x="2" y="2492389"/>
            <a:ext cx="12191999" cy="0"/>
          </a:xfrm>
          <a:prstGeom prst="line">
            <a:avLst/>
          </a:prstGeom>
          <a:ln w="12700">
            <a:solidFill>
              <a:srgbClr val="0033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490101" y="2654884"/>
            <a:ext cx="7845825" cy="738664"/>
          </a:xfrm>
        </p:spPr>
        <p:txBody>
          <a:bodyPr wrap="square" lIns="0">
            <a:spAutoFit/>
          </a:bodyPr>
          <a:lstStyle>
            <a:lvl1pPr>
              <a:defRPr sz="4800">
                <a:solidFill>
                  <a:srgbClr val="003366"/>
                </a:solidFill>
              </a:defRPr>
            </a:lvl1pPr>
          </a:lstStyle>
          <a:p>
            <a:r>
              <a:rPr lang="en-GB" noProof="0" dirty="0" err="1"/>
              <a:t>Titel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490101" y="4763671"/>
            <a:ext cx="7845825" cy="369332"/>
          </a:xfrm>
        </p:spPr>
        <p:txBody>
          <a:bodyPr wrap="square">
            <a:spAutoFit/>
          </a:bodyPr>
          <a:lstStyle>
            <a:lvl1pPr marL="0" indent="0" algn="l">
              <a:buNone/>
              <a:defRPr sz="2400">
                <a:solidFill>
                  <a:srgbClr val="003366"/>
                </a:solidFill>
                <a:latin typeface="BISansCond" panose="02000006050000020004" pitchFamily="2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 dirty="0" err="1"/>
              <a:t>Untertitel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  <p:cxnSp>
        <p:nvCxnSpPr>
          <p:cNvPr id="10" name="Gerade Verbindung 9"/>
          <p:cNvCxnSpPr/>
          <p:nvPr userDrawn="1"/>
        </p:nvCxnSpPr>
        <p:spPr>
          <a:xfrm>
            <a:off x="2" y="2492389"/>
            <a:ext cx="12191999" cy="0"/>
          </a:xfrm>
          <a:prstGeom prst="line">
            <a:avLst/>
          </a:prstGeom>
          <a:ln w="12700">
            <a:solidFill>
              <a:srgbClr val="0033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Grafik 14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22937" y="6120399"/>
            <a:ext cx="1679601" cy="381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63069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24pt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90100" y="153349"/>
            <a:ext cx="11211800" cy="369332"/>
          </a:xfrm>
        </p:spPr>
        <p:txBody>
          <a:bodyPr/>
          <a:lstStyle>
            <a:lvl1pPr>
              <a:defRPr sz="2400">
                <a:solidFill>
                  <a:srgbClr val="003366"/>
                </a:solidFill>
              </a:defRPr>
            </a:lvl1pPr>
          </a:lstStyle>
          <a:p>
            <a:r>
              <a:rPr lang="en-US" altLang="zh-TW" noProof="0"/>
              <a:t>Click to edit Master title style</a:t>
            </a:r>
            <a:endParaRPr lang="en-GB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altLang="zh-TW" noProof="0"/>
              <a:t>Click to edit Master text styles</a:t>
            </a:r>
          </a:p>
          <a:p>
            <a:pPr lvl="1"/>
            <a:r>
              <a:rPr lang="en-US" altLang="zh-TW" noProof="0"/>
              <a:t>Second level</a:t>
            </a:r>
          </a:p>
          <a:p>
            <a:pPr lvl="2"/>
            <a:r>
              <a:rPr lang="en-US" altLang="zh-TW" noProof="0"/>
              <a:t>Third level</a:t>
            </a:r>
          </a:p>
          <a:p>
            <a:pPr lvl="3"/>
            <a:r>
              <a:rPr lang="en-US" altLang="zh-TW" noProof="0"/>
              <a:t>Fourth level</a:t>
            </a:r>
          </a:p>
          <a:p>
            <a:pPr lvl="4"/>
            <a:r>
              <a:rPr lang="en-US" altLang="zh-TW" noProof="0"/>
              <a:t>Fifth level</a:t>
            </a:r>
            <a:endParaRPr lang="en-GB" noProof="0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E4B35C-2CFB-4984-B1A5-ABCEC85D20F8}" type="datetime1">
              <a:rPr lang="en-GB" smtClean="0">
                <a:solidFill>
                  <a:prstClr val="white">
                    <a:lumMod val="50000"/>
                  </a:prstClr>
                </a:solidFill>
              </a:rPr>
              <a:pPr/>
              <a:t>14/12/2021</a:t>
            </a:fld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3B55C4-4F5A-416B-997D-6CE47EB0A945}" type="slidenum">
              <a:rPr lang="en-GB" smtClean="0">
                <a:solidFill>
                  <a:prstClr val="white">
                    <a:lumMod val="50000"/>
                  </a:prstClr>
                </a:solidFill>
              </a:rPr>
              <a:pPr/>
              <a:t>‹#›</a:t>
            </a:fld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cxnSp>
        <p:nvCxnSpPr>
          <p:cNvPr id="7" name="Gerade Verbindung 6"/>
          <p:cNvCxnSpPr/>
          <p:nvPr userDrawn="1"/>
        </p:nvCxnSpPr>
        <p:spPr>
          <a:xfrm>
            <a:off x="0" y="971453"/>
            <a:ext cx="12192000" cy="0"/>
          </a:xfrm>
          <a:prstGeom prst="line">
            <a:avLst/>
          </a:prstGeom>
          <a:ln w="12700">
            <a:solidFill>
              <a:srgbClr val="0033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43800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page_0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2362098" y="1600202"/>
            <a:ext cx="7488001" cy="4525963"/>
          </a:xfrm>
        </p:spPr>
        <p:txBody>
          <a:bodyPr/>
          <a:lstStyle>
            <a:lvl1pPr marL="0" indent="0">
              <a:spcBef>
                <a:spcPts val="600"/>
              </a:spcBef>
              <a:buNone/>
              <a:defRPr/>
            </a:lvl1pPr>
            <a:lvl2pPr marL="182563" indent="-182563">
              <a:spcBef>
                <a:spcPts val="600"/>
              </a:spcBef>
              <a:buFont typeface="BISans" panose="02000503040000020004" pitchFamily="2" charset="0"/>
              <a:buChar char="•"/>
              <a:defRPr/>
            </a:lvl2pPr>
            <a:lvl3pPr marL="358775" indent="-176213">
              <a:buFont typeface="Arial" panose="020B0604020202020204" pitchFamily="34" charset="0"/>
              <a:buChar char="–"/>
              <a:defRPr/>
            </a:lvl3pPr>
          </a:lstStyle>
          <a:p>
            <a:pPr lvl="0"/>
            <a:r>
              <a:rPr lang="en-US" altLang="zh-TW" noProof="0"/>
              <a:t>Click to edit Master text styles</a:t>
            </a:r>
          </a:p>
          <a:p>
            <a:pPr lvl="1"/>
            <a:r>
              <a:rPr lang="en-US" altLang="zh-TW" noProof="0"/>
              <a:t>Second level</a:t>
            </a:r>
          </a:p>
          <a:p>
            <a:pPr lvl="2"/>
            <a:r>
              <a:rPr lang="en-US" altLang="zh-TW" noProof="0"/>
              <a:t>Third level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C90F8743-0E6F-41EA-91A8-8122DB0D84F5}" type="datetime1">
              <a:rPr lang="en-GB" smtClean="0">
                <a:solidFill>
                  <a:prstClr val="white">
                    <a:lumMod val="50000"/>
                  </a:prstClr>
                </a:solidFill>
              </a:rPr>
              <a:pPr/>
              <a:t>14/12/2021</a:t>
            </a:fld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143B55C4-4F5A-416B-997D-6CE47EB0A945}" type="slidenum">
              <a:rPr lang="en-GB" smtClean="0">
                <a:solidFill>
                  <a:prstClr val="white">
                    <a:lumMod val="50000"/>
                  </a:prstClr>
                </a:solidFill>
              </a:rPr>
              <a:pPr/>
              <a:t>‹#›</a:t>
            </a:fld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4" name="Titel 1"/>
          <p:cNvSpPr>
            <a:spLocks noGrp="1"/>
          </p:cNvSpPr>
          <p:nvPr>
            <p:ph type="title"/>
          </p:nvPr>
        </p:nvSpPr>
        <p:spPr>
          <a:xfrm>
            <a:off x="490100" y="153349"/>
            <a:ext cx="11211800" cy="369332"/>
          </a:xfrm>
        </p:spPr>
        <p:txBody>
          <a:bodyPr/>
          <a:lstStyle>
            <a:lvl1pPr>
              <a:defRPr sz="2400">
                <a:solidFill>
                  <a:srgbClr val="003366"/>
                </a:solidFill>
              </a:defRPr>
            </a:lvl1pPr>
          </a:lstStyle>
          <a:p>
            <a:r>
              <a:rPr lang="en-US" altLang="zh-TW" noProof="0"/>
              <a:t>Click to edit Master title style</a:t>
            </a:r>
            <a:endParaRPr lang="en-GB" noProof="0" dirty="0"/>
          </a:p>
        </p:txBody>
      </p:sp>
      <p:cxnSp>
        <p:nvCxnSpPr>
          <p:cNvPr id="8" name="Gerade Verbindung 7"/>
          <p:cNvCxnSpPr/>
          <p:nvPr userDrawn="1"/>
        </p:nvCxnSpPr>
        <p:spPr>
          <a:xfrm>
            <a:off x="0" y="971453"/>
            <a:ext cx="12192000" cy="0"/>
          </a:xfrm>
          <a:prstGeom prst="line">
            <a:avLst/>
          </a:prstGeom>
          <a:ln w="12700">
            <a:solidFill>
              <a:srgbClr val="0033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5924" y="6578970"/>
            <a:ext cx="840360" cy="1905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57280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gram slide_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90101" y="1600203"/>
            <a:ext cx="3912567" cy="3710092"/>
          </a:xfrm>
        </p:spPr>
        <p:txBody>
          <a:bodyPr/>
          <a:lstStyle/>
          <a:p>
            <a:pPr lvl="0"/>
            <a:r>
              <a:rPr lang="en-US" altLang="zh-TW" noProof="0"/>
              <a:t>Click to edit Master text styles</a:t>
            </a:r>
          </a:p>
          <a:p>
            <a:pPr lvl="1"/>
            <a:r>
              <a:rPr lang="en-US" altLang="zh-TW" noProof="0"/>
              <a:t>Second level</a:t>
            </a:r>
          </a:p>
          <a:p>
            <a:pPr lvl="2"/>
            <a:r>
              <a:rPr lang="en-US" altLang="zh-TW" noProof="0"/>
              <a:t>Third level</a:t>
            </a:r>
          </a:p>
          <a:p>
            <a:pPr lvl="3"/>
            <a:r>
              <a:rPr lang="en-US" altLang="zh-TW" noProof="0"/>
              <a:t>Fourth level</a:t>
            </a:r>
          </a:p>
          <a:p>
            <a:pPr lvl="4"/>
            <a:r>
              <a:rPr lang="en-US" altLang="zh-TW" noProof="0"/>
              <a:t>Fifth level</a:t>
            </a:r>
            <a:endParaRPr lang="en-GB" noProof="0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78DA1FEC-CBCE-41CB-A00E-A142F817B3A7}" type="datetime1">
              <a:rPr lang="en-GB" smtClean="0">
                <a:solidFill>
                  <a:prstClr val="white">
                    <a:lumMod val="50000"/>
                  </a:prstClr>
                </a:solidFill>
              </a:rPr>
              <a:pPr/>
              <a:t>14/12/2021</a:t>
            </a:fld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143B55C4-4F5A-416B-997D-6CE47EB0A945}" type="slidenum">
              <a:rPr lang="en-GB" smtClean="0">
                <a:solidFill>
                  <a:prstClr val="white">
                    <a:lumMod val="50000"/>
                  </a:prstClr>
                </a:solidFill>
              </a:rPr>
              <a:pPr/>
              <a:t>‹#›</a:t>
            </a:fld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6" name="Titel 1"/>
          <p:cNvSpPr>
            <a:spLocks noGrp="1"/>
          </p:cNvSpPr>
          <p:nvPr>
            <p:ph type="title"/>
          </p:nvPr>
        </p:nvSpPr>
        <p:spPr>
          <a:xfrm>
            <a:off x="490100" y="153349"/>
            <a:ext cx="11211800" cy="369332"/>
          </a:xfrm>
        </p:spPr>
        <p:txBody>
          <a:bodyPr/>
          <a:lstStyle>
            <a:lvl1pPr>
              <a:defRPr sz="2400">
                <a:solidFill>
                  <a:srgbClr val="003366"/>
                </a:solidFill>
              </a:defRPr>
            </a:lvl1pPr>
          </a:lstStyle>
          <a:p>
            <a:r>
              <a:rPr lang="en-US" altLang="zh-TW" noProof="0"/>
              <a:t>Click to edit Master title style</a:t>
            </a:r>
            <a:endParaRPr lang="en-GB" noProof="0" dirty="0"/>
          </a:p>
        </p:txBody>
      </p:sp>
      <p:cxnSp>
        <p:nvCxnSpPr>
          <p:cNvPr id="8" name="Gerade Verbindung 7"/>
          <p:cNvCxnSpPr/>
          <p:nvPr userDrawn="1"/>
        </p:nvCxnSpPr>
        <p:spPr>
          <a:xfrm>
            <a:off x="0" y="971453"/>
            <a:ext cx="12192000" cy="0"/>
          </a:xfrm>
          <a:prstGeom prst="line">
            <a:avLst/>
          </a:prstGeom>
          <a:ln w="12700">
            <a:solidFill>
              <a:srgbClr val="0033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5924" y="6578970"/>
            <a:ext cx="840360" cy="1905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15940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95A03C-FB3C-4331-9FA1-4886C0A46E98}" type="datetime1">
              <a:rPr lang="en-GB" smtClean="0">
                <a:solidFill>
                  <a:prstClr val="white">
                    <a:lumMod val="50000"/>
                  </a:prstClr>
                </a:solidFill>
              </a:rPr>
              <a:pPr/>
              <a:t>14/12/2021</a:t>
            </a:fld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3B55C4-4F5A-416B-997D-6CE47EB0A945}" type="slidenum">
              <a:rPr lang="en-GB" smtClean="0">
                <a:solidFill>
                  <a:prstClr val="white">
                    <a:lumMod val="50000"/>
                  </a:prstClr>
                </a:solidFill>
              </a:rPr>
              <a:pPr/>
              <a:t>‹#›</a:t>
            </a:fld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744226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タイトル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/>
              <a:t>マスタ タイトルの書式設定</a:t>
            </a:r>
          </a:p>
        </p:txBody>
      </p:sp>
      <p:sp>
        <p:nvSpPr>
          <p:cNvPr id="3" name="日付プレースホルダ 1"/>
          <p:cNvSpPr>
            <a:spLocks noGrp="1"/>
          </p:cNvSpPr>
          <p:nvPr>
            <p:ph type="dt" sz="half" idx="10"/>
          </p:nvPr>
        </p:nvSpPr>
        <p:spPr>
          <a:xfrm>
            <a:off x="2877319" y="6400056"/>
            <a:ext cx="577081" cy="153888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solidFill>
                  <a:srgbClr val="FFFFFF"/>
                </a:solidFill>
                <a:latin typeface="HGPｺﾞｼｯｸE" pitchFamily="50" charset="-128"/>
                <a:ea typeface="HGPｺﾞｼｯｸE" pitchFamily="50" charset="-128"/>
              </a:defRPr>
            </a:lvl1pPr>
          </a:lstStyle>
          <a:p>
            <a:pPr>
              <a:defRPr/>
            </a:pPr>
            <a:fld id="{E90ED720-0104-4369-84BC-D37694168613}" type="datetimeFigureOut">
              <a:rPr lang="ja-JP" altLang="en-US"/>
              <a:pPr>
                <a:defRPr/>
              </a:pPr>
              <a:t>2021/12/14</a:t>
            </a:fld>
            <a:endParaRPr lang="ja-JP" altLang="en-US"/>
          </a:p>
        </p:txBody>
      </p:sp>
      <p:sp>
        <p:nvSpPr>
          <p:cNvPr id="4" name="フッター プレースホルダ 2"/>
          <p:cNvSpPr>
            <a:spLocks noGrp="1"/>
          </p:cNvSpPr>
          <p:nvPr>
            <p:ph type="ftr" sz="quarter" idx="11"/>
          </p:nvPr>
        </p:nvSpPr>
        <p:spPr>
          <a:xfrm>
            <a:off x="4165600" y="6400056"/>
            <a:ext cx="3860800" cy="153888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solidFill>
                  <a:srgbClr val="FFFFFF"/>
                </a:solidFill>
                <a:latin typeface="HGPｺﾞｼｯｸE" pitchFamily="50" charset="-128"/>
                <a:ea typeface="HGPｺﾞｼｯｸE" pitchFamily="50" charset="-128"/>
              </a:defRPr>
            </a:lvl1pPr>
          </a:lstStyle>
          <a:p>
            <a:pPr>
              <a:defRPr/>
            </a:pPr>
            <a:endParaRPr lang="ja-JP" altLang="en-US"/>
          </a:p>
        </p:txBody>
      </p:sp>
      <p:sp>
        <p:nvSpPr>
          <p:cNvPr id="5" name="スライド番号プレースホルダ 3"/>
          <p:cNvSpPr>
            <a:spLocks noGrp="1"/>
          </p:cNvSpPr>
          <p:nvPr>
            <p:ph type="sldNum" sz="quarter" idx="12"/>
          </p:nvPr>
        </p:nvSpPr>
        <p:spPr>
          <a:xfrm>
            <a:off x="11085240" y="6400056"/>
            <a:ext cx="192360" cy="153888"/>
          </a:xfr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solidFill>
                  <a:srgbClr val="FFFFFF"/>
                </a:solidFill>
                <a:latin typeface="HGPｺﾞｼｯｸE" pitchFamily="50" charset="-128"/>
                <a:ea typeface="HGPｺﾞｼｯｸE" pitchFamily="50" charset="-128"/>
              </a:defRPr>
            </a:lvl1pPr>
          </a:lstStyle>
          <a:p>
            <a:pPr>
              <a:defRPr/>
            </a:pPr>
            <a:fld id="{9D850783-8ED0-48B0-AF20-3A925C358D86}" type="slidenum">
              <a:rPr lang="ja-JP" altLang="en-US"/>
              <a:pPr>
                <a:defRPr/>
              </a:pPr>
              <a:t>‹#›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1509353390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Box 8"/>
          <p:cNvSpPr txBox="1">
            <a:spLocks noChangeArrowheads="1"/>
          </p:cNvSpPr>
          <p:nvPr/>
        </p:nvSpPr>
        <p:spPr bwMode="auto">
          <a:xfrm>
            <a:off x="7056967" y="1125538"/>
            <a:ext cx="5376333" cy="369308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  <a:effectLst/>
        </p:spPr>
        <p:txBody>
          <a:bodyPr lIns="91414" tIns="45708" rIns="91414" bIns="45708">
            <a:spAutoFit/>
          </a:bodyPr>
          <a:lstStyle/>
          <a:p>
            <a:pPr algn="ctr" fontAlgn="auto">
              <a:spcBef>
                <a:spcPct val="50000"/>
              </a:spcBef>
              <a:spcAft>
                <a:spcPts val="0"/>
              </a:spcAft>
              <a:defRPr/>
            </a:pPr>
            <a:endParaRPr lang="en-US" sz="1800" dirty="0">
              <a:solidFill>
                <a:srgbClr val="FFFFFF"/>
              </a:solidFill>
              <a:latin typeface="BISansCond" pitchFamily="2" charset="0"/>
            </a:endParaRPr>
          </a:p>
        </p:txBody>
      </p:sp>
      <p:sp>
        <p:nvSpPr>
          <p:cNvPr id="6" name="Text Box 9"/>
          <p:cNvSpPr txBox="1">
            <a:spLocks noChangeArrowheads="1"/>
          </p:cNvSpPr>
          <p:nvPr/>
        </p:nvSpPr>
        <p:spPr bwMode="auto">
          <a:xfrm>
            <a:off x="6288617" y="4221163"/>
            <a:ext cx="3071283" cy="369308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  <a:effectLst/>
        </p:spPr>
        <p:txBody>
          <a:bodyPr lIns="91414" tIns="45708" rIns="91414" bIns="45708">
            <a:spAutoFit/>
          </a:bodyPr>
          <a:lstStyle/>
          <a:p>
            <a:pPr algn="ctr" fontAlgn="auto">
              <a:spcBef>
                <a:spcPct val="50000"/>
              </a:spcBef>
              <a:spcAft>
                <a:spcPts val="0"/>
              </a:spcAft>
              <a:defRPr/>
            </a:pPr>
            <a:endParaRPr lang="en-US" sz="180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7" name="Rectangle 10"/>
          <p:cNvSpPr>
            <a:spLocks noChangeArrowheads="1"/>
          </p:cNvSpPr>
          <p:nvPr/>
        </p:nvSpPr>
        <p:spPr bwMode="auto">
          <a:xfrm>
            <a:off x="9448800" y="6381750"/>
            <a:ext cx="28448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anchor="b"/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800" dirty="0">
              <a:solidFill>
                <a:srgbClr val="00498B"/>
              </a:solidFill>
              <a:latin typeface="+mn-lt"/>
            </a:endParaRPr>
          </a:p>
        </p:txBody>
      </p:sp>
      <p:sp>
        <p:nvSpPr>
          <p:cNvPr id="8" name="Rectangle 7"/>
          <p:cNvSpPr>
            <a:spLocks noChangeArrowheads="1"/>
          </p:cNvSpPr>
          <p:nvPr/>
        </p:nvSpPr>
        <p:spPr bwMode="auto">
          <a:xfrm>
            <a:off x="9450917" y="6383338"/>
            <a:ext cx="2844800" cy="476250"/>
          </a:xfrm>
          <a:prstGeom prst="rect">
            <a:avLst/>
          </a:prstGeom>
          <a:noFill/>
          <a:ln>
            <a:noFill/>
          </a:ln>
        </p:spPr>
        <p:txBody>
          <a:bodyPr anchor="b"/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800" dirty="0">
              <a:solidFill>
                <a:srgbClr val="00498B"/>
              </a:solidFill>
              <a:latin typeface="+mn-lt"/>
            </a:endParaRPr>
          </a:p>
        </p:txBody>
      </p:sp>
      <p:sp>
        <p:nvSpPr>
          <p:cNvPr id="9" name="Rectangle 8"/>
          <p:cNvSpPr>
            <a:spLocks noChangeArrowheads="1"/>
          </p:cNvSpPr>
          <p:nvPr/>
        </p:nvSpPr>
        <p:spPr bwMode="auto">
          <a:xfrm>
            <a:off x="5088467" y="5770563"/>
            <a:ext cx="2844800" cy="476250"/>
          </a:xfrm>
          <a:prstGeom prst="rect">
            <a:avLst/>
          </a:prstGeom>
          <a:noFill/>
          <a:ln>
            <a:noFill/>
          </a:ln>
        </p:spPr>
        <p:txBody>
          <a:bodyPr anchor="b"/>
          <a:lstStyle/>
          <a:p>
            <a:pPr algn="r" eaLnBrk="0" fontAlgn="auto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GB" sz="800" dirty="0">
              <a:solidFill>
                <a:srgbClr val="00498B"/>
              </a:solidFill>
              <a:latin typeface="+mn-lt"/>
            </a:endParaRPr>
          </a:p>
        </p:txBody>
      </p:sp>
      <p:sp>
        <p:nvSpPr>
          <p:cNvPr id="10" name="Rectangle 10"/>
          <p:cNvSpPr>
            <a:spLocks noChangeArrowheads="1"/>
          </p:cNvSpPr>
          <p:nvPr/>
        </p:nvSpPr>
        <p:spPr bwMode="auto">
          <a:xfrm>
            <a:off x="9652000" y="6534150"/>
            <a:ext cx="28448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anchor="b"/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800" dirty="0">
              <a:solidFill>
                <a:srgbClr val="00498B"/>
              </a:solidFill>
              <a:latin typeface="+mn-lt"/>
            </a:endParaRPr>
          </a:p>
        </p:txBody>
      </p:sp>
      <p:sp>
        <p:nvSpPr>
          <p:cNvPr id="87042" name="Rectangle 3"/>
          <p:cNvSpPr>
            <a:spLocks noGrp="1" noChangeArrowheads="1"/>
          </p:cNvSpPr>
          <p:nvPr>
            <p:ph type="ctrTitle"/>
          </p:nvPr>
        </p:nvSpPr>
        <p:spPr>
          <a:xfrm>
            <a:off x="647700" y="1546226"/>
            <a:ext cx="10363200" cy="1204913"/>
          </a:xfrm>
        </p:spPr>
        <p:txBody>
          <a:bodyPr lIns="90000"/>
          <a:lstStyle>
            <a:lvl1pPr>
              <a:defRPr b="1" smtClean="0">
                <a:latin typeface="Calibri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87043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647700" y="3090863"/>
            <a:ext cx="8534400" cy="1752600"/>
          </a:xfrm>
        </p:spPr>
        <p:txBody>
          <a:bodyPr lIns="90000"/>
          <a:lstStyle>
            <a:lvl1pPr marL="0" indent="0">
              <a:buFontTx/>
              <a:buNone/>
              <a:defRPr smtClean="0">
                <a:latin typeface="Calibri" pitchFamily="34" charset="0"/>
              </a:defRPr>
            </a:lvl1pPr>
          </a:lstStyle>
          <a:p>
            <a:r>
              <a:rPr lang="en-US" dirty="0"/>
              <a:t>Click to edit Master subtitle style</a:t>
            </a:r>
            <a:endParaRPr lang="en-GB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7"/>
          </p:nvPr>
        </p:nvSpPr>
        <p:spPr>
          <a:xfrm>
            <a:off x="648000" y="6526800"/>
            <a:ext cx="10320000" cy="273050"/>
          </a:xfrm>
        </p:spPr>
        <p:txBody>
          <a:bodyPr/>
          <a:lstStyle>
            <a:lvl1pPr marL="0" indent="0">
              <a:buNone/>
              <a:defRPr sz="800">
                <a:solidFill>
                  <a:schemeClr val="accent3"/>
                </a:solidFill>
              </a:defRPr>
            </a:lvl1pPr>
            <a:lvl2pPr>
              <a:defRPr sz="800">
                <a:solidFill>
                  <a:schemeClr val="accent3"/>
                </a:solidFill>
              </a:defRPr>
            </a:lvl2pPr>
            <a:lvl3pPr>
              <a:defRPr sz="800">
                <a:solidFill>
                  <a:schemeClr val="accent3"/>
                </a:solidFill>
              </a:defRPr>
            </a:lvl3pPr>
            <a:lvl4pPr>
              <a:defRPr sz="800">
                <a:solidFill>
                  <a:schemeClr val="accent3"/>
                </a:solidFill>
              </a:defRPr>
            </a:lvl4pPr>
            <a:lvl5pPr>
              <a:defRPr sz="800">
                <a:solidFill>
                  <a:schemeClr val="accent3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Slide Number Placeholder 11"/>
          <p:cNvSpPr>
            <a:spLocks noGrp="1" noChangeArrowheads="1"/>
          </p:cNvSpPr>
          <p:nvPr>
            <p:ph type="sldNum" sz="quarter" idx="18"/>
          </p:nvPr>
        </p:nvSpPr>
        <p:spPr>
          <a:xfrm>
            <a:off x="9271000" y="6254750"/>
            <a:ext cx="28448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6340F06-8523-458F-91FB-5F44C6CE06F7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13847326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Calibri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Calibri" pitchFamily="34" charset="0"/>
              </a:defRPr>
            </a:lvl1pPr>
            <a:lvl2pPr>
              <a:defRPr>
                <a:latin typeface="Calibri" pitchFamily="34" charset="0"/>
              </a:defRPr>
            </a:lvl2pPr>
            <a:lvl3pPr>
              <a:defRPr>
                <a:latin typeface="Calibri" pitchFamily="34" charset="0"/>
              </a:defRPr>
            </a:lvl3pPr>
            <a:lvl4pPr>
              <a:defRPr>
                <a:latin typeface="Calibri" pitchFamily="34" charset="0"/>
              </a:defRPr>
            </a:lvl4pPr>
            <a:lvl5pPr>
              <a:defRPr>
                <a:latin typeface="Calibri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648000" y="6325200"/>
            <a:ext cx="10651200" cy="262800"/>
          </a:xfrm>
        </p:spPr>
        <p:txBody>
          <a:bodyPr anchor="b"/>
          <a:lstStyle>
            <a:lvl1pPr marL="0" indent="0">
              <a:buFontTx/>
              <a:buNone/>
              <a:defRPr sz="12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Content Placeholder 10"/>
          <p:cNvSpPr>
            <a:spLocks noGrp="1"/>
          </p:cNvSpPr>
          <p:nvPr>
            <p:ph sz="quarter" idx="17"/>
          </p:nvPr>
        </p:nvSpPr>
        <p:spPr>
          <a:xfrm>
            <a:off x="648000" y="6526800"/>
            <a:ext cx="10320000" cy="273050"/>
          </a:xfrm>
        </p:spPr>
        <p:txBody>
          <a:bodyPr/>
          <a:lstStyle>
            <a:lvl1pPr marL="0" indent="0">
              <a:buNone/>
              <a:defRPr sz="800">
                <a:solidFill>
                  <a:schemeClr val="accent3"/>
                </a:solidFill>
              </a:defRPr>
            </a:lvl1pPr>
            <a:lvl2pPr>
              <a:defRPr sz="800">
                <a:solidFill>
                  <a:schemeClr val="accent3"/>
                </a:solidFill>
              </a:defRPr>
            </a:lvl2pPr>
            <a:lvl3pPr>
              <a:defRPr sz="800">
                <a:solidFill>
                  <a:schemeClr val="accent3"/>
                </a:solidFill>
              </a:defRPr>
            </a:lvl3pPr>
            <a:lvl4pPr>
              <a:defRPr sz="800">
                <a:solidFill>
                  <a:schemeClr val="accent3"/>
                </a:solidFill>
              </a:defRPr>
            </a:lvl4pPr>
            <a:lvl5pPr>
              <a:defRPr sz="800">
                <a:solidFill>
                  <a:schemeClr val="accent3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Rectangle 9"/>
          <p:cNvSpPr>
            <a:spLocks noGrp="1" noChangeArrowheads="1"/>
          </p:cNvSpPr>
          <p:nvPr>
            <p:ph type="sldNum" sz="quarter" idx="18"/>
          </p:nvPr>
        </p:nvSpPr>
        <p:spPr>
          <a:xfrm>
            <a:off x="9271000" y="6254750"/>
            <a:ext cx="28448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B95D995-7884-432F-BD5E-66C6D8B8E8A0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13745636"/>
      </p:ext>
    </p:extLst>
  </p:cSld>
  <p:clrMapOvr>
    <a:masterClrMapping/>
  </p:clrMapOvr>
  <p:hf hdr="0" dt="0"/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ctr">
              <a:defRPr sz="4400">
                <a:solidFill>
                  <a:srgbClr val="FFFF00"/>
                </a:solidFill>
                <a:latin typeface="Calibri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 sz="3200">
                <a:solidFill>
                  <a:srgbClr val="FFFF00"/>
                </a:solidFill>
                <a:latin typeface="Calibri" pitchFamily="34" charset="0"/>
              </a:defRPr>
            </a:lvl1pPr>
            <a:lvl2pPr>
              <a:defRPr sz="1200">
                <a:solidFill>
                  <a:srgbClr val="FFFF00"/>
                </a:solidFill>
                <a:latin typeface="Calibri" pitchFamily="34" charset="0"/>
              </a:defRPr>
            </a:lvl2pPr>
            <a:lvl3pPr>
              <a:defRPr sz="1200">
                <a:solidFill>
                  <a:srgbClr val="FFFF00"/>
                </a:solidFill>
                <a:latin typeface="Calibri" pitchFamily="34" charset="0"/>
              </a:defRPr>
            </a:lvl3pPr>
            <a:lvl4pPr>
              <a:defRPr sz="1200">
                <a:solidFill>
                  <a:srgbClr val="FFFF00"/>
                </a:solidFill>
                <a:latin typeface="Calibri" pitchFamily="34" charset="0"/>
              </a:defRPr>
            </a:lvl4pPr>
            <a:lvl5pPr>
              <a:defRPr sz="1200">
                <a:solidFill>
                  <a:srgbClr val="FFFF00"/>
                </a:solidFill>
                <a:latin typeface="Calibri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648000" y="6325200"/>
            <a:ext cx="10651200" cy="262800"/>
          </a:xfrm>
        </p:spPr>
        <p:txBody>
          <a:bodyPr anchor="b"/>
          <a:lstStyle>
            <a:lvl1pPr marL="0" indent="0">
              <a:buFontTx/>
              <a:buNone/>
              <a:defRPr sz="12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Content Placeholder 10"/>
          <p:cNvSpPr>
            <a:spLocks noGrp="1"/>
          </p:cNvSpPr>
          <p:nvPr>
            <p:ph sz="quarter" idx="17"/>
          </p:nvPr>
        </p:nvSpPr>
        <p:spPr>
          <a:xfrm>
            <a:off x="648000" y="6526800"/>
            <a:ext cx="10320000" cy="273050"/>
          </a:xfrm>
        </p:spPr>
        <p:txBody>
          <a:bodyPr/>
          <a:lstStyle>
            <a:lvl1pPr marL="0" indent="0">
              <a:buNone/>
              <a:defRPr sz="800">
                <a:solidFill>
                  <a:schemeClr val="accent3"/>
                </a:solidFill>
              </a:defRPr>
            </a:lvl1pPr>
            <a:lvl2pPr>
              <a:defRPr sz="800">
                <a:solidFill>
                  <a:schemeClr val="accent3"/>
                </a:solidFill>
              </a:defRPr>
            </a:lvl2pPr>
            <a:lvl3pPr>
              <a:defRPr sz="800">
                <a:solidFill>
                  <a:schemeClr val="accent3"/>
                </a:solidFill>
              </a:defRPr>
            </a:lvl3pPr>
            <a:lvl4pPr>
              <a:defRPr sz="800">
                <a:solidFill>
                  <a:schemeClr val="accent3"/>
                </a:solidFill>
              </a:defRPr>
            </a:lvl4pPr>
            <a:lvl5pPr>
              <a:defRPr sz="800">
                <a:solidFill>
                  <a:schemeClr val="accent3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Rectangle 9"/>
          <p:cNvSpPr>
            <a:spLocks noGrp="1" noChangeArrowheads="1"/>
          </p:cNvSpPr>
          <p:nvPr>
            <p:ph type="sldNum" sz="quarter" idx="18"/>
          </p:nvPr>
        </p:nvSpPr>
        <p:spPr>
          <a:xfrm>
            <a:off x="9271000" y="6254750"/>
            <a:ext cx="28448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B95D995-7884-432F-BD5E-66C6D8B8E8A0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36332274"/>
      </p:ext>
    </p:extLst>
  </p:cSld>
  <p:clrMapOvr>
    <a:masterClrMapping/>
  </p:clrMapOvr>
  <p:hf hdr="0" dt="0"/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只有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Calibri" pitchFamily="34" charset="0"/>
                <a:cs typeface="Arial"/>
              </a:defRPr>
            </a:lvl1pPr>
          </a:lstStyle>
          <a:p>
            <a:r>
              <a:rPr lang="zh-TW" altLang="en-US" dirty="0"/>
              <a:t>按一下以編輯母片標題樣式</a:t>
            </a:r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4"/>
          </p:nvPr>
        </p:nvSpPr>
        <p:spPr>
          <a:xfrm>
            <a:off x="0" y="8994"/>
            <a:ext cx="815413" cy="384175"/>
          </a:xfrm>
          <a:prstGeom prst="rect">
            <a:avLst/>
          </a:prstGeom>
        </p:spPr>
        <p:txBody>
          <a:bodyPr/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fld id="{02651ECA-E601-4EF6-872B-FD5F654EA33F}" type="slidenum">
              <a:rPr lang="en-US" altLang="zh-TW" smtClean="0"/>
              <a:pPr/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1615326517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標題投影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/>
          <a:lstStyle>
            <a:lvl1pPr>
              <a:defRPr i="0">
                <a:latin typeface="Calibri" pitchFamily="34" charset="0"/>
              </a:defRPr>
            </a:lvl1pPr>
          </a:lstStyle>
          <a:p>
            <a:r>
              <a:rPr lang="zh-TW" altLang="en-US" dirty="0"/>
              <a:t>按一下以編輯母片標題樣式</a:t>
            </a:r>
          </a:p>
        </p:txBody>
      </p:sp>
      <p:sp>
        <p:nvSpPr>
          <p:cNvPr id="3" name="副標題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latin typeface="Calibri" pitchFamily="34" charset="0"/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zh-TW" altLang="en-US" dirty="0"/>
              <a:t>按一下以編輯母片副標題樣式</a:t>
            </a:r>
          </a:p>
        </p:txBody>
      </p:sp>
    </p:spTree>
    <p:extLst>
      <p:ext uri="{BB962C8B-B14F-4D97-AF65-F5344CB8AC3E}">
        <p14:creationId xmlns:p14="http://schemas.microsoft.com/office/powerpoint/2010/main" val="425989520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age_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eck 12"/>
          <p:cNvSpPr/>
          <p:nvPr userDrawn="1"/>
        </p:nvSpPr>
        <p:spPr>
          <a:xfrm>
            <a:off x="0" y="2928494"/>
            <a:ext cx="12192000" cy="3929507"/>
          </a:xfrm>
          <a:prstGeom prst="rect">
            <a:avLst/>
          </a:prstGeom>
          <a:gradFill>
            <a:gsLst>
              <a:gs pos="0">
                <a:srgbClr val="6699CC">
                  <a:alpha val="40000"/>
                </a:srgbClr>
              </a:gs>
              <a:gs pos="100000">
                <a:srgbClr val="FFFFFF"/>
              </a:gs>
            </a:gsLst>
            <a:lin ang="162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sz="1400" dirty="0">
              <a:solidFill>
                <a:prstClr val="black"/>
              </a:solidFill>
            </a:endParaRPr>
          </a:p>
        </p:txBody>
      </p:sp>
      <p:pic>
        <p:nvPicPr>
          <p:cNvPr id="14" name="Picture 2"/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231" t="19013" b="13976"/>
          <a:stretch/>
        </p:blipFill>
        <p:spPr bwMode="auto">
          <a:xfrm>
            <a:off x="0" y="0"/>
            <a:ext cx="8573053" cy="685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24" name="Gerade Verbindung 23"/>
          <p:cNvCxnSpPr/>
          <p:nvPr/>
        </p:nvCxnSpPr>
        <p:spPr>
          <a:xfrm>
            <a:off x="2" y="2492389"/>
            <a:ext cx="12191999" cy="0"/>
          </a:xfrm>
          <a:prstGeom prst="line">
            <a:avLst/>
          </a:prstGeom>
          <a:ln w="12700">
            <a:solidFill>
              <a:srgbClr val="0033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490100" y="2654884"/>
            <a:ext cx="7166475" cy="738664"/>
          </a:xfrm>
        </p:spPr>
        <p:txBody>
          <a:bodyPr wrap="square">
            <a:spAutoFit/>
          </a:bodyPr>
          <a:lstStyle>
            <a:lvl1pPr>
              <a:defRPr sz="4800">
                <a:solidFill>
                  <a:srgbClr val="003366"/>
                </a:solidFill>
              </a:defRPr>
            </a:lvl1pPr>
          </a:lstStyle>
          <a:p>
            <a:r>
              <a:rPr lang="en-GB" noProof="0" dirty="0" err="1"/>
              <a:t>Titel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490100" y="4763671"/>
            <a:ext cx="7166475" cy="369332"/>
          </a:xfrm>
        </p:spPr>
        <p:txBody>
          <a:bodyPr wrap="square">
            <a:spAutoFit/>
          </a:bodyPr>
          <a:lstStyle>
            <a:lvl1pPr marL="0" indent="0" algn="l">
              <a:buNone/>
              <a:defRPr sz="2400">
                <a:solidFill>
                  <a:srgbClr val="003366"/>
                </a:solidFill>
                <a:latin typeface="BISansCond" panose="02000006050000020004" pitchFamily="2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 dirty="0" err="1"/>
              <a:t>Untertitel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  <p:cxnSp>
        <p:nvCxnSpPr>
          <p:cNvPr id="11" name="Gerade Verbindung 10"/>
          <p:cNvCxnSpPr/>
          <p:nvPr userDrawn="1"/>
        </p:nvCxnSpPr>
        <p:spPr>
          <a:xfrm>
            <a:off x="2" y="2492389"/>
            <a:ext cx="12191999" cy="0"/>
          </a:xfrm>
          <a:prstGeom prst="line">
            <a:avLst/>
          </a:prstGeom>
          <a:ln w="12700">
            <a:solidFill>
              <a:srgbClr val="0033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724524" y="749516"/>
            <a:ext cx="3014400" cy="2260800"/>
          </a:xfrm>
          <a:prstGeom prst="ellipse">
            <a:avLst/>
          </a:prstGeom>
          <a:gradFill flip="none" rotWithShape="1">
            <a:gsLst>
              <a:gs pos="0">
                <a:srgbClr val="002142"/>
              </a:gs>
              <a:gs pos="100000">
                <a:srgbClr val="275187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>
            <a:normAutofit/>
          </a:bodyPr>
          <a:lstStyle>
            <a:lvl1pPr marL="0" indent="0" algn="ctr">
              <a:buNone/>
              <a:defRPr lang="de-DE" sz="3000" dirty="0">
                <a:solidFill>
                  <a:schemeClr val="bg1"/>
                </a:solidFill>
                <a:latin typeface="+mj-lt"/>
              </a:defRPr>
            </a:lvl1pPr>
          </a:lstStyle>
          <a:p>
            <a:pPr marL="0" lvl="0" algn="ctr"/>
            <a:r>
              <a:rPr lang="en-GB" noProof="0" dirty="0"/>
              <a:t>Add. info [font size variable]</a:t>
            </a:r>
          </a:p>
        </p:txBody>
      </p: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22937" y="6120399"/>
            <a:ext cx="1679601" cy="381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15667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35564793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>
  <p:cSld name="比對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</p:spPr>
        <p:txBody>
          <a:bodyPr/>
          <a:lstStyle>
            <a:lvl1pPr>
              <a:defRPr>
                <a:latin typeface="Calibri" pitchFamily="34" charset="0"/>
              </a:defRPr>
            </a:lvl1pPr>
          </a:lstStyle>
          <a:p>
            <a:r>
              <a:rPr lang="zh-TW" altLang="en-US" dirty="0"/>
              <a:t>按一下以編輯母片標題樣式</a:t>
            </a:r>
          </a:p>
        </p:txBody>
      </p:sp>
      <p:sp>
        <p:nvSpPr>
          <p:cNvPr id="3" name="文字版面配置區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4" name="內容版面配置區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5" name="文字版面配置區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6" name="內容版面配置區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</p:spTree>
    <p:extLst>
      <p:ext uri="{BB962C8B-B14F-4D97-AF65-F5344CB8AC3E}">
        <p14:creationId xmlns:p14="http://schemas.microsoft.com/office/powerpoint/2010/main" val="959030516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Default - 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hape 15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pPr lvl="0">
              <a:defRPr sz="1800">
                <a:ln>
                  <a:noFill/>
                </a:ln>
                <a:solidFill>
                  <a:srgbClr val="000000"/>
                </a:solidFill>
                <a:uFillTx/>
              </a:defRPr>
            </a:pPr>
            <a:r>
              <a:rPr sz="5000">
                <a:ln>
                  <a:solidFill/>
                </a:ln>
                <a:solidFill>
                  <a:srgbClr val="04617B"/>
                </a:solidFill>
                <a:uFill>
                  <a:solidFill>
                    <a:srgbClr val="04617B"/>
                  </a:solidFill>
                </a:uFill>
              </a:rPr>
              <a:t>標題文字</a:t>
            </a:r>
          </a:p>
        </p:txBody>
      </p:sp>
      <p:sp>
        <p:nvSpPr>
          <p:cNvPr id="16" name="Shape 16"/>
          <p:cNvSpPr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/>
          <a:lstStyle/>
          <a:p>
            <a:pPr lvl="0">
              <a:defRPr sz="1800">
                <a:uFillTx/>
              </a:defRPr>
            </a:pPr>
            <a:r>
              <a:rPr sz="2600">
                <a:uFill>
                  <a:solidFill/>
                </a:uFill>
              </a:rPr>
              <a:t>內文層級一</a:t>
            </a:r>
          </a:p>
          <a:p>
            <a:pPr lvl="1">
              <a:defRPr sz="1800">
                <a:uFillTx/>
              </a:defRPr>
            </a:pPr>
            <a:r>
              <a:rPr sz="2600">
                <a:uFill>
                  <a:solidFill/>
                </a:uFill>
              </a:rPr>
              <a:t>內文層級二</a:t>
            </a:r>
          </a:p>
          <a:p>
            <a:pPr lvl="2">
              <a:defRPr sz="1800">
                <a:uFillTx/>
              </a:defRPr>
            </a:pPr>
            <a:r>
              <a:rPr sz="2600">
                <a:uFill>
                  <a:solidFill/>
                </a:uFill>
              </a:rPr>
              <a:t>內文層級三</a:t>
            </a:r>
          </a:p>
          <a:p>
            <a:pPr lvl="3">
              <a:defRPr sz="1800">
                <a:uFillTx/>
              </a:defRPr>
            </a:pPr>
            <a:r>
              <a:rPr sz="2600">
                <a:uFill>
                  <a:solidFill/>
                </a:uFill>
              </a:rPr>
              <a:t>內文層級四</a:t>
            </a:r>
          </a:p>
          <a:p>
            <a:pPr lvl="4">
              <a:defRPr sz="1800">
                <a:uFillTx/>
              </a:defRPr>
            </a:pPr>
            <a:r>
              <a:rPr sz="2600">
                <a:uFill>
                  <a:solidFill/>
                </a:uFill>
              </a:rPr>
              <a:t>內文層級五</a:t>
            </a:r>
          </a:p>
        </p:txBody>
      </p:sp>
      <p:sp>
        <p:nvSpPr>
          <p:cNvPr id="17" name="Shape 17"/>
          <p:cNvSpPr>
            <a:spLocks noGrp="1"/>
          </p:cNvSpPr>
          <p:nvPr>
            <p:ph type="sldNum" sz="quarter" idx="2"/>
          </p:nvPr>
        </p:nvSpPr>
        <p:spPr>
          <a:xfrm>
            <a:off x="9347200" y="6381750"/>
            <a:ext cx="2844800" cy="476250"/>
          </a:xfrm>
          <a:prstGeom prst="rect">
            <a:avLst/>
          </a:prstGeom>
        </p:spPr>
        <p:txBody>
          <a:bodyPr/>
          <a:lstStyle/>
          <a:p>
            <a:pPr lvl="0"/>
            <a:fld id="{86CB4B4D-7CA3-9044-876B-883B54F8677D}" type="slidenum">
              <a:rPr/>
              <a:pPr lvl="0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508625381"/>
      </p:ext>
    </p:extLst>
  </p:cSld>
  <p:clrMapOvr>
    <a:masterClrMapping/>
  </p:clrMapOvr>
  <p:transition spd="med"/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/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774" t="21906" r="22560" b="9618"/>
          <a:stretch/>
        </p:blipFill>
        <p:spPr bwMode="auto">
          <a:xfrm>
            <a:off x="1" y="0"/>
            <a:ext cx="99568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24" name="Gerade Verbindung 23"/>
          <p:cNvCxnSpPr/>
          <p:nvPr/>
        </p:nvCxnSpPr>
        <p:spPr>
          <a:xfrm>
            <a:off x="7" y="2492389"/>
            <a:ext cx="12191999" cy="0"/>
          </a:xfrm>
          <a:prstGeom prst="line">
            <a:avLst/>
          </a:prstGeom>
          <a:ln w="12700">
            <a:solidFill>
              <a:srgbClr val="0033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490106" y="2654884"/>
            <a:ext cx="7845825" cy="553998"/>
          </a:xfrm>
        </p:spPr>
        <p:txBody>
          <a:bodyPr wrap="square" lIns="0">
            <a:spAutoFit/>
          </a:bodyPr>
          <a:lstStyle>
            <a:lvl1pPr>
              <a:defRPr sz="3600">
                <a:solidFill>
                  <a:srgbClr val="003366"/>
                </a:solidFill>
              </a:defRPr>
            </a:lvl1pPr>
          </a:lstStyle>
          <a:p>
            <a:r>
              <a:rPr lang="de-DE" noProof="0" dirty="0"/>
              <a:t>Titel durch Klicken bearbeit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490106" y="4763672"/>
            <a:ext cx="7845825" cy="276999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>
                <a:solidFill>
                  <a:srgbClr val="003366"/>
                </a:solidFill>
                <a:latin typeface="BISansCond" panose="02000006050000020004" pitchFamily="2" charset="0"/>
              </a:defRPr>
            </a:lvl1pPr>
            <a:lvl2pPr marL="3428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6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4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3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noProof="0" dirty="0"/>
              <a:t>Untertitel durch Klicken bearbeiten</a:t>
            </a:r>
          </a:p>
        </p:txBody>
      </p: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22942" y="6120399"/>
            <a:ext cx="1679601" cy="381600"/>
          </a:xfrm>
          <a:prstGeom prst="rect">
            <a:avLst/>
          </a:prstGeom>
        </p:spPr>
      </p:pic>
      <p:sp>
        <p:nvSpPr>
          <p:cNvPr id="11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724524" y="749516"/>
            <a:ext cx="3014400" cy="2260800"/>
          </a:xfrm>
          <a:prstGeom prst="ellipse">
            <a:avLst/>
          </a:prstGeom>
          <a:gradFill flip="none" rotWithShape="1">
            <a:gsLst>
              <a:gs pos="0">
                <a:srgbClr val="002142"/>
              </a:gs>
              <a:gs pos="100000">
                <a:srgbClr val="275187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>
            <a:normAutofit/>
          </a:bodyPr>
          <a:lstStyle>
            <a:lvl1pPr marL="0" indent="0" algn="ctr">
              <a:buNone/>
              <a:defRPr lang="de-DE" sz="1800" dirty="0">
                <a:solidFill>
                  <a:schemeClr val="bg1"/>
                </a:solidFill>
                <a:latin typeface="+mj-lt"/>
              </a:defRPr>
            </a:lvl1pPr>
          </a:lstStyle>
          <a:p>
            <a:pPr marL="0" lvl="0" algn="ctr"/>
            <a:r>
              <a:rPr lang="de-DE" noProof="0" dirty="0"/>
              <a:t>Infotext bearbeiten [Variable Schriftgröße]</a:t>
            </a:r>
          </a:p>
        </p:txBody>
      </p:sp>
      <p:sp>
        <p:nvSpPr>
          <p:cNvPr id="13" name="Titel 1"/>
          <p:cNvSpPr txBox="1">
            <a:spLocks/>
          </p:cNvSpPr>
          <p:nvPr userDrawn="1"/>
        </p:nvSpPr>
        <p:spPr>
          <a:xfrm>
            <a:off x="490101" y="2654884"/>
            <a:ext cx="7166475" cy="5539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4800" kern="1200">
                <a:solidFill>
                  <a:srgbClr val="003366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CH" sz="3600" dirty="0"/>
              <a:t>Titel durch Klicken bearbeiten</a:t>
            </a:r>
          </a:p>
        </p:txBody>
      </p:sp>
      <p:sp>
        <p:nvSpPr>
          <p:cNvPr id="15" name="Untertitel 2"/>
          <p:cNvSpPr txBox="1">
            <a:spLocks/>
          </p:cNvSpPr>
          <p:nvPr userDrawn="1"/>
        </p:nvSpPr>
        <p:spPr>
          <a:xfrm>
            <a:off x="490101" y="4763674"/>
            <a:ext cx="7166475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400"/>
              </a:spcBef>
              <a:buFont typeface="Arial" panose="020B0604020202020204" pitchFamily="34" charset="0"/>
              <a:buNone/>
              <a:defRPr sz="2400" kern="1200">
                <a:solidFill>
                  <a:srgbClr val="003366"/>
                </a:solidFill>
                <a:latin typeface="BISansCond" panose="02000006050000020004" pitchFamily="2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ts val="0"/>
              </a:spcBef>
              <a:buFont typeface="Wingdings" panose="05000000000000000000" pitchFamily="2" charset="2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800" dirty="0"/>
              <a:t>Untertitel durch Klicken bearbeiten</a:t>
            </a:r>
          </a:p>
        </p:txBody>
      </p:sp>
      <p:cxnSp>
        <p:nvCxnSpPr>
          <p:cNvPr id="10" name="Gerade Verbindung 9"/>
          <p:cNvCxnSpPr/>
          <p:nvPr userDrawn="1"/>
        </p:nvCxnSpPr>
        <p:spPr>
          <a:xfrm>
            <a:off x="7" y="2492389"/>
            <a:ext cx="12191999" cy="0"/>
          </a:xfrm>
          <a:prstGeom prst="line">
            <a:avLst/>
          </a:prstGeom>
          <a:ln w="12700">
            <a:solidFill>
              <a:srgbClr val="0033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333776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Info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eck 12"/>
          <p:cNvSpPr/>
          <p:nvPr userDrawn="1"/>
        </p:nvSpPr>
        <p:spPr>
          <a:xfrm>
            <a:off x="0" y="2928495"/>
            <a:ext cx="12192000" cy="3929507"/>
          </a:xfrm>
          <a:prstGeom prst="rect">
            <a:avLst/>
          </a:prstGeom>
          <a:gradFill>
            <a:gsLst>
              <a:gs pos="0">
                <a:srgbClr val="6699CC">
                  <a:alpha val="40000"/>
                </a:srgbClr>
              </a:gs>
              <a:gs pos="100000">
                <a:srgbClr val="FFFFFF"/>
              </a:gs>
            </a:gsLst>
            <a:lin ang="162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GB" sz="1050" dirty="0">
              <a:solidFill>
                <a:srgbClr val="000000"/>
              </a:solidFill>
            </a:endParaRPr>
          </a:p>
        </p:txBody>
      </p:sp>
      <p:pic>
        <p:nvPicPr>
          <p:cNvPr id="14" name="Picture 2"/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231" t="19013" b="13976"/>
          <a:stretch/>
        </p:blipFill>
        <p:spPr bwMode="auto">
          <a:xfrm>
            <a:off x="0" y="0"/>
            <a:ext cx="8573053" cy="685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24" name="Gerade Verbindung 23"/>
          <p:cNvCxnSpPr/>
          <p:nvPr/>
        </p:nvCxnSpPr>
        <p:spPr>
          <a:xfrm>
            <a:off x="7" y="2492389"/>
            <a:ext cx="12191999" cy="0"/>
          </a:xfrm>
          <a:prstGeom prst="line">
            <a:avLst/>
          </a:prstGeom>
          <a:ln w="12700">
            <a:solidFill>
              <a:srgbClr val="0033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490101" y="2654884"/>
            <a:ext cx="7166475" cy="553998"/>
          </a:xfrm>
        </p:spPr>
        <p:txBody>
          <a:bodyPr wrap="square">
            <a:spAutoFit/>
          </a:bodyPr>
          <a:lstStyle>
            <a:lvl1pPr>
              <a:defRPr sz="3600">
                <a:solidFill>
                  <a:srgbClr val="003366"/>
                </a:solidFill>
              </a:defRPr>
            </a:lvl1pPr>
          </a:lstStyle>
          <a:p>
            <a:r>
              <a:rPr lang="de-CH" noProof="0" dirty="0"/>
              <a:t>Titel durch Klicken bearbeit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490101" y="4763672"/>
            <a:ext cx="7166475" cy="276999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>
                <a:solidFill>
                  <a:srgbClr val="003366"/>
                </a:solidFill>
                <a:latin typeface="BISansCond" panose="02000006050000020004" pitchFamily="2" charset="0"/>
              </a:defRPr>
            </a:lvl1pPr>
            <a:lvl2pPr marL="3428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6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4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3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noProof="0" dirty="0"/>
              <a:t>Untertitel durch Klicken bearbeiten</a:t>
            </a:r>
          </a:p>
        </p:txBody>
      </p:sp>
      <p:cxnSp>
        <p:nvCxnSpPr>
          <p:cNvPr id="11" name="Gerade Verbindung 10"/>
          <p:cNvCxnSpPr/>
          <p:nvPr userDrawn="1"/>
        </p:nvCxnSpPr>
        <p:spPr>
          <a:xfrm>
            <a:off x="7" y="2492389"/>
            <a:ext cx="12191999" cy="0"/>
          </a:xfrm>
          <a:prstGeom prst="line">
            <a:avLst/>
          </a:prstGeom>
          <a:ln w="12700">
            <a:solidFill>
              <a:srgbClr val="0033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724524" y="749516"/>
            <a:ext cx="3014400" cy="2260800"/>
          </a:xfrm>
          <a:prstGeom prst="ellipse">
            <a:avLst/>
          </a:prstGeom>
          <a:gradFill flip="none" rotWithShape="1">
            <a:gsLst>
              <a:gs pos="0">
                <a:srgbClr val="002142"/>
              </a:gs>
              <a:gs pos="100000">
                <a:srgbClr val="275187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>
            <a:normAutofit/>
          </a:bodyPr>
          <a:lstStyle>
            <a:lvl1pPr marL="0" indent="0" algn="ctr">
              <a:buNone/>
              <a:defRPr lang="de-DE" sz="1800" dirty="0">
                <a:solidFill>
                  <a:schemeClr val="bg1"/>
                </a:solidFill>
                <a:latin typeface="+mj-lt"/>
              </a:defRPr>
            </a:lvl1pPr>
          </a:lstStyle>
          <a:p>
            <a:pPr marL="0" lvl="0" algn="ctr"/>
            <a:r>
              <a:rPr lang="de-DE" noProof="0" dirty="0"/>
              <a:t>Infotext bearbeiten [Variable Schriftgröße]</a:t>
            </a:r>
          </a:p>
        </p:txBody>
      </p: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22942" y="6120399"/>
            <a:ext cx="1679601" cy="381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2008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eck 12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rgbClr val="89C0FF"/>
              </a:gs>
              <a:gs pos="100000">
                <a:srgbClr val="5486C1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350" dirty="0">
              <a:solidFill>
                <a:srgbClr val="FFFFFF"/>
              </a:solidFill>
            </a:endParaRPr>
          </a:p>
        </p:txBody>
      </p:sp>
      <p:cxnSp>
        <p:nvCxnSpPr>
          <p:cNvPr id="17" name="Gerade Verbindung 16"/>
          <p:cNvCxnSpPr/>
          <p:nvPr/>
        </p:nvCxnSpPr>
        <p:spPr>
          <a:xfrm>
            <a:off x="0" y="2492389"/>
            <a:ext cx="12192000" cy="0"/>
          </a:xfrm>
          <a:prstGeom prst="line">
            <a:avLst/>
          </a:prstGeom>
          <a:ln w="1270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Textplatzhalter 18"/>
          <p:cNvSpPr>
            <a:spLocks noGrp="1"/>
          </p:cNvSpPr>
          <p:nvPr>
            <p:ph type="body" sz="quarter" idx="11" hasCustomPrompt="1"/>
          </p:nvPr>
        </p:nvSpPr>
        <p:spPr>
          <a:xfrm>
            <a:off x="469104" y="2640131"/>
            <a:ext cx="8909357" cy="553998"/>
          </a:xfrm>
        </p:spPr>
        <p:txBody>
          <a:bodyPr wrap="square">
            <a:spAutoFit/>
          </a:bodyPr>
          <a:lstStyle>
            <a:lvl1pPr marL="0" indent="0">
              <a:buNone/>
              <a:defRPr sz="3600">
                <a:solidFill>
                  <a:schemeClr val="bg1"/>
                </a:solidFill>
                <a:latin typeface="BISansCond" panose="02000006050000020004" pitchFamily="2" charset="0"/>
              </a:defRPr>
            </a:lvl1pPr>
          </a:lstStyle>
          <a:p>
            <a:pPr lvl="0"/>
            <a:r>
              <a:rPr lang="en-GB" noProof="0" dirty="0" err="1"/>
              <a:t>Kapitel-Titel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  <p:sp>
        <p:nvSpPr>
          <p:cNvPr id="20" name="Textplatzhalt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469105" y="3718150"/>
            <a:ext cx="5412315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aseline="0">
                <a:solidFill>
                  <a:schemeClr val="bg1"/>
                </a:solidFill>
                <a:latin typeface="BISansCond" panose="02000006050000020004" pitchFamily="2" charset="0"/>
              </a:defRPr>
            </a:lvl1pPr>
          </a:lstStyle>
          <a:p>
            <a:pPr lvl="0"/>
            <a:r>
              <a:rPr lang="en-GB" noProof="0" dirty="0" err="1"/>
              <a:t>Optionalen</a:t>
            </a:r>
            <a:r>
              <a:rPr lang="en-GB" noProof="0" dirty="0"/>
              <a:t> </a:t>
            </a:r>
            <a:r>
              <a:rPr lang="en-GB" noProof="0" dirty="0" err="1"/>
              <a:t>Untertitel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  <p:cxnSp>
        <p:nvCxnSpPr>
          <p:cNvPr id="10" name="Gerade Verbindung 9"/>
          <p:cNvCxnSpPr/>
          <p:nvPr userDrawn="1"/>
        </p:nvCxnSpPr>
        <p:spPr>
          <a:xfrm>
            <a:off x="0" y="2492389"/>
            <a:ext cx="12192000" cy="0"/>
          </a:xfrm>
          <a:prstGeom prst="line">
            <a:avLst/>
          </a:prstGeom>
          <a:ln w="1270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26265" y="6120399"/>
            <a:ext cx="1679601" cy="381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81701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ve 1: Standard-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22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16" imgH="216" progId="TCLayout.ActiveDocument.1">
                  <p:embed/>
                </p:oleObj>
              </mc:Choice>
              <mc:Fallback>
                <p:oleObj name="think-cell Slide" r:id="rId3" imgW="216" imgH="216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22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/>
          <p:cNvSpPr/>
          <p:nvPr userDrawn="1"/>
        </p:nvSpPr>
        <p:spPr>
          <a:xfrm>
            <a:off x="0" y="2928495"/>
            <a:ext cx="12192000" cy="3929507"/>
          </a:xfrm>
          <a:prstGeom prst="rect">
            <a:avLst/>
          </a:prstGeom>
          <a:gradFill>
            <a:gsLst>
              <a:gs pos="0">
                <a:srgbClr val="6699CC">
                  <a:alpha val="40000"/>
                </a:srgbClr>
              </a:gs>
              <a:gs pos="100000">
                <a:srgbClr val="FFFFFF"/>
              </a:gs>
            </a:gsLst>
            <a:lin ang="162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GB" sz="1050" dirty="0">
              <a:solidFill>
                <a:srgbClr val="000000"/>
              </a:solidFill>
            </a:endParaRPr>
          </a:p>
        </p:txBody>
      </p:sp>
      <p:cxnSp>
        <p:nvCxnSpPr>
          <p:cNvPr id="5" name="Gerade Verbindung 4"/>
          <p:cNvCxnSpPr/>
          <p:nvPr userDrawn="1"/>
        </p:nvCxnSpPr>
        <p:spPr>
          <a:xfrm>
            <a:off x="0" y="971453"/>
            <a:ext cx="12192000" cy="0"/>
          </a:xfrm>
          <a:prstGeom prst="line">
            <a:avLst/>
          </a:prstGeom>
          <a:ln w="12700">
            <a:solidFill>
              <a:srgbClr val="0033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0" name="Datumsplatzhalter 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D8EF81-457D-4290-80C5-23526034FF6B}" type="datetime1">
              <a:rPr lang="en-GB" smtClean="0">
                <a:solidFill>
                  <a:srgbClr val="FFFFFF">
                    <a:lumMod val="50000"/>
                  </a:srgbClr>
                </a:solidFill>
              </a:rPr>
              <a:pPr/>
              <a:t>14/12/2021</a:t>
            </a:fld>
            <a:endParaRPr lang="en-GB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FFFFFF">
                    <a:lumMod val="50000"/>
                  </a:srgbClr>
                </a:solidFill>
              </a:rPr>
              <a:t>HP Regions - 2017 Annual Discussion</a:t>
            </a:r>
            <a:endParaRPr lang="en-GB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3B55C4-4F5A-416B-997D-6CE47EB0A945}" type="slidenum">
              <a:rPr lang="en-GB" smtClean="0">
                <a:solidFill>
                  <a:srgbClr val="FFFFFF">
                    <a:lumMod val="50000"/>
                  </a:srgbClr>
                </a:solidFill>
              </a:rPr>
              <a:pPr/>
              <a:t>‹#›</a:t>
            </a:fld>
            <a:endParaRPr lang="en-GB" dirty="0">
              <a:solidFill>
                <a:srgbClr val="FFFFFF">
                  <a:lumMod val="50000"/>
                </a:srgbClr>
              </a:solidFill>
            </a:endParaRPr>
          </a:p>
        </p:txBody>
      </p:sp>
      <p:pic>
        <p:nvPicPr>
          <p:cNvPr id="13" name="Grafik 12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5924" y="6578961"/>
            <a:ext cx="840360" cy="1905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10961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ve 3: Standard Foli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22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16" imgH="216" progId="TCLayout.ActiveDocument.1">
                  <p:embed/>
                </p:oleObj>
              </mc:Choice>
              <mc:Fallback>
                <p:oleObj name="think-cell Slide" r:id="rId3" imgW="216" imgH="216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22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hteck 11"/>
          <p:cNvSpPr/>
          <p:nvPr userDrawn="1"/>
        </p:nvSpPr>
        <p:spPr>
          <a:xfrm>
            <a:off x="0" y="2928495"/>
            <a:ext cx="12192000" cy="3929507"/>
          </a:xfrm>
          <a:prstGeom prst="rect">
            <a:avLst/>
          </a:prstGeom>
          <a:gradFill>
            <a:gsLst>
              <a:gs pos="0">
                <a:srgbClr val="6699CC">
                  <a:alpha val="40000"/>
                </a:srgbClr>
              </a:gs>
              <a:gs pos="100000">
                <a:srgbClr val="FFFFFF"/>
              </a:gs>
            </a:gsLst>
            <a:lin ang="162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GB" sz="1050" dirty="0">
              <a:solidFill>
                <a:srgbClr val="000000"/>
              </a:solidFill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en-GB" noProof="0" dirty="0"/>
          </a:p>
        </p:txBody>
      </p:sp>
      <p:cxnSp>
        <p:nvCxnSpPr>
          <p:cNvPr id="5" name="Gerade Verbindung 4"/>
          <p:cNvCxnSpPr/>
          <p:nvPr/>
        </p:nvCxnSpPr>
        <p:spPr>
          <a:xfrm>
            <a:off x="0" y="971453"/>
            <a:ext cx="12192000" cy="0"/>
          </a:xfrm>
          <a:prstGeom prst="line">
            <a:avLst/>
          </a:prstGeom>
          <a:ln w="12700">
            <a:solidFill>
              <a:srgbClr val="0033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10"/>
          <p:cNvCxnSpPr/>
          <p:nvPr userDrawn="1"/>
        </p:nvCxnSpPr>
        <p:spPr>
          <a:xfrm>
            <a:off x="0" y="971453"/>
            <a:ext cx="12192000" cy="0"/>
          </a:xfrm>
          <a:prstGeom prst="line">
            <a:avLst/>
          </a:prstGeom>
          <a:ln w="12700">
            <a:solidFill>
              <a:srgbClr val="0033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AE2C56-5F16-4DE5-A4DF-EBE640CAA51B}" type="datetime1">
              <a:rPr lang="en-GB" smtClean="0">
                <a:solidFill>
                  <a:srgbClr val="FFFFFF">
                    <a:lumMod val="50000"/>
                  </a:srgbClr>
                </a:solidFill>
              </a:rPr>
              <a:pPr/>
              <a:t>14/12/2021</a:t>
            </a:fld>
            <a:endParaRPr lang="en-GB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3B55C4-4F5A-416B-997D-6CE47EB0A945}" type="slidenum">
              <a:rPr lang="en-GB" smtClean="0">
                <a:solidFill>
                  <a:srgbClr val="FFFFFF">
                    <a:lumMod val="50000"/>
                  </a:srgbClr>
                </a:solidFill>
              </a:rPr>
              <a:pPr/>
              <a:t>‹#›</a:t>
            </a:fld>
            <a:endParaRPr lang="en-GB" dirty="0">
              <a:solidFill>
                <a:srgbClr val="FFFFFF">
                  <a:lumMod val="50000"/>
                </a:srgbClr>
              </a:solidFill>
            </a:endParaRPr>
          </a:p>
        </p:txBody>
      </p:sp>
      <p:pic>
        <p:nvPicPr>
          <p:cNvPr id="14" name="Grafik 13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5924" y="6578961"/>
            <a:ext cx="840360" cy="190511"/>
          </a:xfrm>
          <a:prstGeom prst="rect">
            <a:avLst/>
          </a:prstGeom>
        </p:spPr>
      </p:pic>
      <p:sp>
        <p:nvSpPr>
          <p:cNvPr id="13" name="Fußzeilenplatzhalter 5"/>
          <p:cNvSpPr txBox="1">
            <a:spLocks/>
          </p:cNvSpPr>
          <p:nvPr userDrawn="1"/>
        </p:nvSpPr>
        <p:spPr>
          <a:xfrm>
            <a:off x="1957621" y="6602847"/>
            <a:ext cx="8186291" cy="11541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000" kern="1200">
                <a:solidFill>
                  <a:schemeClr val="bg1">
                    <a:lumMod val="50000"/>
                  </a:schemeClr>
                </a:solidFill>
                <a:latin typeface="BISansCond" panose="02000006050000020004" pitchFamily="2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750" dirty="0">
                <a:solidFill>
                  <a:srgbClr val="FFFFFF">
                    <a:lumMod val="50000"/>
                  </a:srgbClr>
                </a:solidFill>
              </a:rPr>
              <a:t>HP Regions - 2018 Annual Discussion</a:t>
            </a:r>
            <a:endParaRPr lang="en-GB" sz="750" dirty="0">
              <a:solidFill>
                <a:srgbClr val="FFFFFF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32610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 page_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/>
          <p:cNvSpPr/>
          <p:nvPr userDrawn="1"/>
        </p:nvSpPr>
        <p:spPr>
          <a:xfrm>
            <a:off x="0" y="2928495"/>
            <a:ext cx="12192000" cy="3929507"/>
          </a:xfrm>
          <a:prstGeom prst="rect">
            <a:avLst/>
          </a:prstGeom>
          <a:gradFill>
            <a:gsLst>
              <a:gs pos="0">
                <a:srgbClr val="6699CC">
                  <a:alpha val="40000"/>
                </a:srgbClr>
              </a:gs>
              <a:gs pos="100000">
                <a:srgbClr val="FFFFFF"/>
              </a:gs>
            </a:gsLst>
            <a:lin ang="162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3995" tIns="53995" rIns="53995" bIns="53995" rtlCol="0" anchor="ctr"/>
          <a:lstStyle/>
          <a:p>
            <a:pPr algn="ctr" defTabSz="685699"/>
            <a:endParaRPr lang="en-GB" sz="1050" dirty="0">
              <a:solidFill>
                <a:srgbClr val="000000"/>
              </a:solidFill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/>
        <p:txBody>
          <a:bodyPr/>
          <a:lstStyle/>
          <a:p>
            <a:pPr lvl="0"/>
            <a:r>
              <a:rPr lang="en-GB" noProof="0" dirty="0"/>
              <a:t>Click to add text</a:t>
            </a:r>
          </a:p>
        </p:txBody>
      </p:sp>
      <p:cxnSp>
        <p:nvCxnSpPr>
          <p:cNvPr id="7" name="Gerade Verbindung 6"/>
          <p:cNvCxnSpPr/>
          <p:nvPr userDrawn="1"/>
        </p:nvCxnSpPr>
        <p:spPr>
          <a:xfrm>
            <a:off x="0" y="971453"/>
            <a:ext cx="12192000" cy="0"/>
          </a:xfrm>
          <a:prstGeom prst="line">
            <a:avLst/>
          </a:prstGeom>
          <a:ln w="12700">
            <a:solidFill>
              <a:srgbClr val="0033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E07332-38B6-41B2-81EE-18FB39B43C71}" type="datetime1">
              <a:rPr lang="en-GB" smtClean="0">
                <a:solidFill>
                  <a:srgbClr val="FFFFFF">
                    <a:lumMod val="50000"/>
                  </a:srgbClr>
                </a:solidFill>
              </a:rPr>
              <a:pPr/>
              <a:t>14/12/2021</a:t>
            </a:fld>
            <a:endParaRPr lang="en-GB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>
                <a:solidFill>
                  <a:srgbClr val="FFFFFF">
                    <a:lumMod val="50000"/>
                  </a:srgbClr>
                </a:solidFill>
              </a:rPr>
              <a:t>Presentation title, date, author</a:t>
            </a:r>
            <a:endParaRPr lang="en-GB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3B55C4-4F5A-416B-997D-6CE47EB0A945}" type="slidenum">
              <a:rPr lang="en-GB" smtClean="0">
                <a:solidFill>
                  <a:srgbClr val="FFFFFF">
                    <a:lumMod val="50000"/>
                  </a:srgbClr>
                </a:solidFill>
              </a:rPr>
              <a:pPr/>
              <a:t>‹#›</a:t>
            </a:fld>
            <a:endParaRPr lang="en-GB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8" name="Titel 7"/>
          <p:cNvSpPr>
            <a:spLocks noGrp="1"/>
          </p:cNvSpPr>
          <p:nvPr>
            <p:ph type="title" hasCustomPrompt="1"/>
          </p:nvPr>
        </p:nvSpPr>
        <p:spPr>
          <a:xfrm>
            <a:off x="490100" y="187200"/>
            <a:ext cx="11211800" cy="415498"/>
          </a:xfrm>
        </p:spPr>
        <p:txBody>
          <a:bodyPr/>
          <a:lstStyle>
            <a:lvl1pPr>
              <a:defRPr sz="2700"/>
            </a:lvl1pPr>
          </a:lstStyle>
          <a:p>
            <a:r>
              <a:rPr lang="en-GB" noProof="0"/>
              <a:t>Click to add headline</a:t>
            </a:r>
          </a:p>
        </p:txBody>
      </p:sp>
      <p:pic>
        <p:nvPicPr>
          <p:cNvPr id="10" name="Grafik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5924" y="6485510"/>
            <a:ext cx="840360" cy="2540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31194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 page_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11"/>
          <p:cNvSpPr/>
          <p:nvPr userDrawn="1"/>
        </p:nvSpPr>
        <p:spPr>
          <a:xfrm>
            <a:off x="0" y="2928495"/>
            <a:ext cx="12192000" cy="3929507"/>
          </a:xfrm>
          <a:prstGeom prst="rect">
            <a:avLst/>
          </a:prstGeom>
          <a:gradFill>
            <a:gsLst>
              <a:gs pos="0">
                <a:srgbClr val="6699CC">
                  <a:alpha val="40000"/>
                </a:srgbClr>
              </a:gs>
              <a:gs pos="100000">
                <a:srgbClr val="FFFFFF"/>
              </a:gs>
            </a:gsLst>
            <a:lin ang="162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GB" sz="1050" noProof="0" dirty="0">
              <a:solidFill>
                <a:schemeClr val="tx1"/>
              </a:solidFill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altLang="zh-TW" noProof="0"/>
              <a:t>Click to edit Master text styles</a:t>
            </a:r>
          </a:p>
          <a:p>
            <a:pPr lvl="1"/>
            <a:r>
              <a:rPr lang="en-US" altLang="zh-TW" noProof="0"/>
              <a:t>Second level</a:t>
            </a:r>
          </a:p>
          <a:p>
            <a:pPr lvl="2"/>
            <a:r>
              <a:rPr lang="en-US" altLang="zh-TW" noProof="0"/>
              <a:t>Third level</a:t>
            </a:r>
          </a:p>
          <a:p>
            <a:pPr lvl="3"/>
            <a:r>
              <a:rPr lang="en-US" altLang="zh-TW" noProof="0"/>
              <a:t>Fourth level</a:t>
            </a:r>
          </a:p>
          <a:p>
            <a:pPr lvl="4"/>
            <a:r>
              <a:rPr lang="en-US" altLang="zh-TW" noProof="0"/>
              <a:t>Fifth level</a:t>
            </a:r>
            <a:endParaRPr lang="en-GB" noProof="0" dirty="0"/>
          </a:p>
        </p:txBody>
      </p:sp>
      <p:cxnSp>
        <p:nvCxnSpPr>
          <p:cNvPr id="5" name="Gerade Verbindung 4"/>
          <p:cNvCxnSpPr/>
          <p:nvPr/>
        </p:nvCxnSpPr>
        <p:spPr>
          <a:xfrm>
            <a:off x="0" y="971453"/>
            <a:ext cx="12192000" cy="0"/>
          </a:xfrm>
          <a:prstGeom prst="line">
            <a:avLst/>
          </a:prstGeom>
          <a:ln w="12700">
            <a:solidFill>
              <a:srgbClr val="0033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10"/>
          <p:cNvCxnSpPr/>
          <p:nvPr userDrawn="1"/>
        </p:nvCxnSpPr>
        <p:spPr>
          <a:xfrm>
            <a:off x="0" y="971453"/>
            <a:ext cx="12192000" cy="0"/>
          </a:xfrm>
          <a:prstGeom prst="line">
            <a:avLst/>
          </a:prstGeom>
          <a:ln w="12700">
            <a:solidFill>
              <a:srgbClr val="0033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5924" y="6578960"/>
            <a:ext cx="840360" cy="190511"/>
          </a:xfrm>
          <a:prstGeom prst="rect">
            <a:avLst/>
          </a:prstGeom>
        </p:spPr>
      </p:pic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/>
              <a:t>Click to edit Master title style</a:t>
            </a:r>
            <a:endParaRPr lang="de-DE"/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0DDFAE-3DA3-4218-ADED-A2CB89D0520B}" type="datetime1">
              <a:rPr lang="en-GB" smtClean="0"/>
              <a:t>14/12/2021</a:t>
            </a:fld>
            <a:endParaRPr lang="en-GB" dirty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3B55C4-4F5A-416B-997D-6CE47EB0A945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231005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_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eck 12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rgbClr val="89C0FF"/>
              </a:gs>
              <a:gs pos="100000">
                <a:srgbClr val="5486C1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dirty="0">
              <a:solidFill>
                <a:prstClr val="white"/>
              </a:solidFill>
            </a:endParaRPr>
          </a:p>
        </p:txBody>
      </p:sp>
      <p:cxnSp>
        <p:nvCxnSpPr>
          <p:cNvPr id="17" name="Gerade Verbindung 16"/>
          <p:cNvCxnSpPr/>
          <p:nvPr/>
        </p:nvCxnSpPr>
        <p:spPr>
          <a:xfrm>
            <a:off x="0" y="2492389"/>
            <a:ext cx="12192000" cy="0"/>
          </a:xfrm>
          <a:prstGeom prst="line">
            <a:avLst/>
          </a:prstGeom>
          <a:ln w="1270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Textplatzhalter 18"/>
          <p:cNvSpPr>
            <a:spLocks noGrp="1"/>
          </p:cNvSpPr>
          <p:nvPr>
            <p:ph type="body" sz="quarter" idx="11"/>
          </p:nvPr>
        </p:nvSpPr>
        <p:spPr>
          <a:xfrm>
            <a:off x="469106" y="2640129"/>
            <a:ext cx="5412316" cy="1477328"/>
          </a:xfrm>
        </p:spPr>
        <p:txBody>
          <a:bodyPr wrap="square">
            <a:spAutoFit/>
          </a:bodyPr>
          <a:lstStyle>
            <a:lvl1pPr marL="0" indent="0">
              <a:buNone/>
              <a:defRPr sz="4800">
                <a:solidFill>
                  <a:schemeClr val="bg1"/>
                </a:solidFill>
                <a:latin typeface="BISansCond" panose="02000006050000020004" pitchFamily="2" charset="0"/>
              </a:defRPr>
            </a:lvl1pPr>
          </a:lstStyle>
          <a:p>
            <a:pPr lvl="0"/>
            <a:r>
              <a:rPr lang="en-US" altLang="zh-TW" noProof="0"/>
              <a:t>Click to edit Master text styles</a:t>
            </a:r>
          </a:p>
        </p:txBody>
      </p:sp>
      <p:sp>
        <p:nvSpPr>
          <p:cNvPr id="20" name="Textplatzhalter 18"/>
          <p:cNvSpPr>
            <a:spLocks noGrp="1"/>
          </p:cNvSpPr>
          <p:nvPr>
            <p:ph type="body" sz="quarter" idx="12"/>
          </p:nvPr>
        </p:nvSpPr>
        <p:spPr>
          <a:xfrm>
            <a:off x="469105" y="3718148"/>
            <a:ext cx="5412315" cy="369332"/>
          </a:xfrm>
        </p:spPr>
        <p:txBody>
          <a:bodyPr wrap="square">
            <a:spAutoFit/>
          </a:bodyPr>
          <a:lstStyle>
            <a:lvl1pPr marL="0" indent="0">
              <a:buNone/>
              <a:defRPr sz="2400">
                <a:solidFill>
                  <a:schemeClr val="bg1"/>
                </a:solidFill>
                <a:latin typeface="BISansCond" panose="02000006050000020004" pitchFamily="2" charset="0"/>
              </a:defRPr>
            </a:lvl1pPr>
          </a:lstStyle>
          <a:p>
            <a:pPr lvl="0"/>
            <a:r>
              <a:rPr lang="en-US" altLang="zh-TW" noProof="0"/>
              <a:t>Click to edit Master text styles</a:t>
            </a:r>
          </a:p>
        </p:txBody>
      </p:sp>
      <p:cxnSp>
        <p:nvCxnSpPr>
          <p:cNvPr id="10" name="Gerade Verbindung 9"/>
          <p:cNvCxnSpPr/>
          <p:nvPr userDrawn="1"/>
        </p:nvCxnSpPr>
        <p:spPr>
          <a:xfrm>
            <a:off x="0" y="2492389"/>
            <a:ext cx="12192000" cy="0"/>
          </a:xfrm>
          <a:prstGeom prst="line">
            <a:avLst/>
          </a:prstGeom>
          <a:ln w="1270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26260" y="6120399"/>
            <a:ext cx="1679601" cy="381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47104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page_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11"/>
          <p:cNvSpPr/>
          <p:nvPr userDrawn="1"/>
        </p:nvSpPr>
        <p:spPr>
          <a:xfrm>
            <a:off x="0" y="2928494"/>
            <a:ext cx="12192000" cy="3929507"/>
          </a:xfrm>
          <a:prstGeom prst="rect">
            <a:avLst/>
          </a:prstGeom>
          <a:gradFill>
            <a:gsLst>
              <a:gs pos="0">
                <a:srgbClr val="6699CC">
                  <a:alpha val="40000"/>
                </a:srgbClr>
              </a:gs>
              <a:gs pos="100000">
                <a:srgbClr val="FFFFFF"/>
              </a:gs>
            </a:gsLst>
            <a:lin ang="162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sz="1400" noProof="0" dirty="0">
              <a:solidFill>
                <a:schemeClr val="tx1"/>
              </a:solidFill>
              <a:latin typeface="BISansOpti"/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6231" t="19013" b="13976"/>
          <a:stretch/>
        </p:blipFill>
        <p:spPr bwMode="auto">
          <a:xfrm>
            <a:off x="0" y="0"/>
            <a:ext cx="8573053" cy="685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24" name="Gerade Verbindung 23"/>
          <p:cNvCxnSpPr/>
          <p:nvPr/>
        </p:nvCxnSpPr>
        <p:spPr>
          <a:xfrm>
            <a:off x="2" y="2492389"/>
            <a:ext cx="12191999" cy="0"/>
          </a:xfrm>
          <a:prstGeom prst="line">
            <a:avLst/>
          </a:prstGeom>
          <a:ln w="12700">
            <a:solidFill>
              <a:srgbClr val="0033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490102" y="2654884"/>
            <a:ext cx="7845825" cy="738664"/>
          </a:xfrm>
        </p:spPr>
        <p:txBody>
          <a:bodyPr wrap="square" lIns="0">
            <a:spAutoFit/>
          </a:bodyPr>
          <a:lstStyle>
            <a:lvl1pPr>
              <a:defRPr sz="4800" baseline="0">
                <a:solidFill>
                  <a:srgbClr val="003366"/>
                </a:solidFill>
              </a:defRPr>
            </a:lvl1pPr>
          </a:lstStyle>
          <a:p>
            <a:r>
              <a:rPr lang="en-GB" noProof="0"/>
              <a:t>Click to add title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490101" y="4763671"/>
            <a:ext cx="7845825" cy="369332"/>
          </a:xfrm>
        </p:spPr>
        <p:txBody>
          <a:bodyPr wrap="square">
            <a:spAutoFit/>
          </a:bodyPr>
          <a:lstStyle>
            <a:lvl1pPr marL="0" indent="0" algn="l">
              <a:buNone/>
              <a:defRPr sz="2400" b="0" i="0" baseline="0">
                <a:solidFill>
                  <a:srgbClr val="003366"/>
                </a:solidFill>
                <a:latin typeface="BISansOptiCond"/>
                <a:cs typeface="BISansOptiCond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 dirty="0"/>
              <a:t>Click to add subtitle</a:t>
            </a:r>
          </a:p>
        </p:txBody>
      </p:sp>
      <p:cxnSp>
        <p:nvCxnSpPr>
          <p:cNvPr id="10" name="Gerade Verbindung 9"/>
          <p:cNvCxnSpPr/>
          <p:nvPr userDrawn="1"/>
        </p:nvCxnSpPr>
        <p:spPr>
          <a:xfrm>
            <a:off x="2" y="2492389"/>
            <a:ext cx="12191999" cy="0"/>
          </a:xfrm>
          <a:prstGeom prst="line">
            <a:avLst/>
          </a:prstGeom>
          <a:ln w="12700">
            <a:solidFill>
              <a:srgbClr val="0033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Grafik 2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26261" y="5889117"/>
            <a:ext cx="1679601" cy="508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45549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age_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eck 12"/>
          <p:cNvSpPr/>
          <p:nvPr userDrawn="1"/>
        </p:nvSpPr>
        <p:spPr>
          <a:xfrm>
            <a:off x="0" y="2928494"/>
            <a:ext cx="12192000" cy="3929507"/>
          </a:xfrm>
          <a:prstGeom prst="rect">
            <a:avLst/>
          </a:prstGeom>
          <a:gradFill>
            <a:gsLst>
              <a:gs pos="0">
                <a:srgbClr val="6699CC">
                  <a:alpha val="40000"/>
                </a:srgbClr>
              </a:gs>
              <a:gs pos="100000">
                <a:srgbClr val="FFFFFF"/>
              </a:gs>
            </a:gsLst>
            <a:lin ang="162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sz="1400" noProof="0" dirty="0">
              <a:solidFill>
                <a:schemeClr val="tx1"/>
              </a:solidFill>
              <a:latin typeface="BISansOpti"/>
            </a:endParaRPr>
          </a:p>
        </p:txBody>
      </p:sp>
      <p:pic>
        <p:nvPicPr>
          <p:cNvPr id="14" name="Picture 2"/>
          <p:cNvPicPr>
            <a:picLocks noChangeAspect="1" noChangeArrowheads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6231" t="19013" b="13976"/>
          <a:stretch/>
        </p:blipFill>
        <p:spPr bwMode="auto">
          <a:xfrm>
            <a:off x="0" y="0"/>
            <a:ext cx="8573053" cy="685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24" name="Gerade Verbindung 23"/>
          <p:cNvCxnSpPr/>
          <p:nvPr/>
        </p:nvCxnSpPr>
        <p:spPr>
          <a:xfrm>
            <a:off x="2" y="2492389"/>
            <a:ext cx="12191999" cy="0"/>
          </a:xfrm>
          <a:prstGeom prst="line">
            <a:avLst/>
          </a:prstGeom>
          <a:ln w="12700">
            <a:solidFill>
              <a:srgbClr val="0033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490100" y="2654884"/>
            <a:ext cx="7166475" cy="738664"/>
          </a:xfrm>
        </p:spPr>
        <p:txBody>
          <a:bodyPr wrap="square">
            <a:spAutoFit/>
          </a:bodyPr>
          <a:lstStyle>
            <a:lvl1pPr>
              <a:defRPr sz="4800">
                <a:solidFill>
                  <a:srgbClr val="003366"/>
                </a:solidFill>
              </a:defRPr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490100" y="4763671"/>
            <a:ext cx="7166475" cy="369332"/>
          </a:xfrm>
        </p:spPr>
        <p:txBody>
          <a:bodyPr wrap="square">
            <a:spAutoFit/>
          </a:bodyPr>
          <a:lstStyle>
            <a:lvl1pPr marL="0" indent="0" algn="l">
              <a:buNone/>
              <a:defRPr sz="2400" b="0" i="0">
                <a:solidFill>
                  <a:srgbClr val="003366"/>
                </a:solidFill>
                <a:latin typeface="BISansOptiCond"/>
                <a:cs typeface="BISansOptiCond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 dirty="0"/>
              <a:t>Click to add subtitle</a:t>
            </a:r>
          </a:p>
        </p:txBody>
      </p:sp>
      <p:cxnSp>
        <p:nvCxnSpPr>
          <p:cNvPr id="11" name="Gerade Verbindung 10"/>
          <p:cNvCxnSpPr/>
          <p:nvPr userDrawn="1"/>
        </p:nvCxnSpPr>
        <p:spPr>
          <a:xfrm>
            <a:off x="2" y="2492389"/>
            <a:ext cx="12191999" cy="0"/>
          </a:xfrm>
          <a:prstGeom prst="line">
            <a:avLst/>
          </a:prstGeom>
          <a:ln w="12700">
            <a:solidFill>
              <a:srgbClr val="0033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724524" y="372716"/>
            <a:ext cx="3014400" cy="3014400"/>
          </a:xfrm>
          <a:prstGeom prst="ellipse">
            <a:avLst/>
          </a:prstGeom>
          <a:gradFill flip="none" rotWithShape="1">
            <a:gsLst>
              <a:gs pos="0">
                <a:srgbClr val="002142"/>
              </a:gs>
              <a:gs pos="100000">
                <a:srgbClr val="275187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>
            <a:normAutofit/>
          </a:bodyPr>
          <a:lstStyle>
            <a:lvl1pPr marL="0" indent="0" algn="ctr">
              <a:buNone/>
              <a:defRPr lang="de-DE" sz="3000" b="0" i="0" dirty="0">
                <a:solidFill>
                  <a:schemeClr val="bg1"/>
                </a:solidFill>
                <a:latin typeface="BISansOptiCond"/>
                <a:cs typeface="BISansOptiCond"/>
              </a:defRPr>
            </a:lvl1pPr>
          </a:lstStyle>
          <a:p>
            <a:pPr marL="0" lvl="0" algn="ctr"/>
            <a:r>
              <a:rPr lang="en-GB" noProof="0" dirty="0"/>
              <a:t>Add. info [font size variable]</a:t>
            </a:r>
          </a:p>
        </p:txBody>
      </p:sp>
      <p:pic>
        <p:nvPicPr>
          <p:cNvPr id="10" name="Grafik 2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26261" y="5889117"/>
            <a:ext cx="1679601" cy="508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71446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_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eck 12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rgbClr val="89C0FF"/>
              </a:gs>
              <a:gs pos="100000">
                <a:srgbClr val="5486C1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noProof="0" dirty="0">
              <a:latin typeface="BISansOpti"/>
            </a:endParaRPr>
          </a:p>
        </p:txBody>
      </p:sp>
      <p:cxnSp>
        <p:nvCxnSpPr>
          <p:cNvPr id="17" name="Gerade Verbindung 16"/>
          <p:cNvCxnSpPr/>
          <p:nvPr/>
        </p:nvCxnSpPr>
        <p:spPr>
          <a:xfrm>
            <a:off x="0" y="2492389"/>
            <a:ext cx="12192000" cy="0"/>
          </a:xfrm>
          <a:prstGeom prst="line">
            <a:avLst/>
          </a:prstGeom>
          <a:ln w="1270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Textplatzhalter 18"/>
          <p:cNvSpPr>
            <a:spLocks noGrp="1"/>
          </p:cNvSpPr>
          <p:nvPr>
            <p:ph type="body" sz="quarter" idx="11" hasCustomPrompt="1"/>
          </p:nvPr>
        </p:nvSpPr>
        <p:spPr>
          <a:xfrm>
            <a:off x="469104" y="2640130"/>
            <a:ext cx="10980424" cy="738664"/>
          </a:xfrm>
        </p:spPr>
        <p:txBody>
          <a:bodyPr wrap="square">
            <a:spAutoFit/>
          </a:bodyPr>
          <a:lstStyle>
            <a:lvl1pPr marL="0" indent="0">
              <a:buNone/>
              <a:defRPr sz="4800" b="0" i="0">
                <a:solidFill>
                  <a:schemeClr val="bg1"/>
                </a:solidFill>
                <a:latin typeface="BISansOptiCond"/>
                <a:cs typeface="BISansOptiCond"/>
              </a:defRPr>
            </a:lvl1pPr>
          </a:lstStyle>
          <a:p>
            <a:pPr lvl="0"/>
            <a:r>
              <a:rPr lang="en-GB" noProof="0" dirty="0"/>
              <a:t>Click to add chapter title</a:t>
            </a:r>
          </a:p>
        </p:txBody>
      </p:sp>
      <p:sp>
        <p:nvSpPr>
          <p:cNvPr id="20" name="Textplatzhalt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469105" y="3718148"/>
            <a:ext cx="5412315" cy="369332"/>
          </a:xfrm>
        </p:spPr>
        <p:txBody>
          <a:bodyPr wrap="square">
            <a:spAutoFit/>
          </a:bodyPr>
          <a:lstStyle>
            <a:lvl1pPr marL="0" indent="0">
              <a:buNone/>
              <a:defRPr sz="2400" b="0" i="0">
                <a:solidFill>
                  <a:schemeClr val="bg1"/>
                </a:solidFill>
                <a:latin typeface="BISansOptiCond"/>
                <a:cs typeface="BISansOptiCond"/>
              </a:defRPr>
            </a:lvl1pPr>
          </a:lstStyle>
          <a:p>
            <a:pPr lvl="0"/>
            <a:r>
              <a:rPr lang="en-GB" noProof="0" dirty="0"/>
              <a:t>Click to add text</a:t>
            </a:r>
          </a:p>
        </p:txBody>
      </p:sp>
      <p:cxnSp>
        <p:nvCxnSpPr>
          <p:cNvPr id="10" name="Gerade Verbindung 9"/>
          <p:cNvCxnSpPr/>
          <p:nvPr userDrawn="1"/>
        </p:nvCxnSpPr>
        <p:spPr>
          <a:xfrm>
            <a:off x="0" y="2492389"/>
            <a:ext cx="12192000" cy="0"/>
          </a:xfrm>
          <a:prstGeom prst="line">
            <a:avLst/>
          </a:prstGeom>
          <a:ln w="1270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8" name="Grafik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26261" y="5889117"/>
            <a:ext cx="1679601" cy="508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11958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title_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eck 12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rgbClr val="89C0FF"/>
              </a:gs>
              <a:gs pos="100000">
                <a:srgbClr val="5486C1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noProof="0" dirty="0">
              <a:latin typeface="BISansOpti"/>
            </a:endParaRPr>
          </a:p>
        </p:txBody>
      </p:sp>
      <p:cxnSp>
        <p:nvCxnSpPr>
          <p:cNvPr id="17" name="Gerade Verbindung 16"/>
          <p:cNvCxnSpPr/>
          <p:nvPr/>
        </p:nvCxnSpPr>
        <p:spPr>
          <a:xfrm>
            <a:off x="0" y="2492389"/>
            <a:ext cx="12192000" cy="0"/>
          </a:xfrm>
          <a:prstGeom prst="line">
            <a:avLst/>
          </a:prstGeom>
          <a:ln w="1270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Textplatzhalter 18"/>
          <p:cNvSpPr>
            <a:spLocks noGrp="1"/>
          </p:cNvSpPr>
          <p:nvPr>
            <p:ph type="body" sz="quarter" idx="11" hasCustomPrompt="1"/>
          </p:nvPr>
        </p:nvSpPr>
        <p:spPr>
          <a:xfrm>
            <a:off x="469106" y="2640129"/>
            <a:ext cx="5412316" cy="1477328"/>
          </a:xfrm>
        </p:spPr>
        <p:txBody>
          <a:bodyPr wrap="square">
            <a:spAutoFit/>
          </a:bodyPr>
          <a:lstStyle>
            <a:lvl1pPr marL="0" indent="0">
              <a:buNone/>
              <a:defRPr sz="4800" b="0" i="0">
                <a:solidFill>
                  <a:schemeClr val="bg1"/>
                </a:solidFill>
                <a:latin typeface="BISansOptiCond"/>
                <a:cs typeface="BISansOptiCond"/>
              </a:defRPr>
            </a:lvl1pPr>
          </a:lstStyle>
          <a:p>
            <a:pPr lvl="0"/>
            <a:r>
              <a:rPr lang="en-GB" noProof="0" dirty="0"/>
              <a:t>Click to add chapter title</a:t>
            </a:r>
          </a:p>
        </p:txBody>
      </p:sp>
      <p:sp>
        <p:nvSpPr>
          <p:cNvPr id="20" name="Textplatzhalt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469105" y="4623796"/>
            <a:ext cx="5412315" cy="369332"/>
          </a:xfrm>
        </p:spPr>
        <p:txBody>
          <a:bodyPr wrap="square">
            <a:spAutoFit/>
          </a:bodyPr>
          <a:lstStyle>
            <a:lvl1pPr marL="0" indent="0">
              <a:buNone/>
              <a:defRPr sz="2400" b="0" i="0">
                <a:solidFill>
                  <a:schemeClr val="bg1"/>
                </a:solidFill>
                <a:latin typeface="BISansOptiCond"/>
                <a:cs typeface="BISansOptiCond"/>
              </a:defRPr>
            </a:lvl1pPr>
          </a:lstStyle>
          <a:p>
            <a:pPr lvl="0"/>
            <a:r>
              <a:rPr lang="en-GB" noProof="0" dirty="0"/>
              <a:t>Click to add text</a:t>
            </a:r>
          </a:p>
        </p:txBody>
      </p:sp>
      <p:cxnSp>
        <p:nvCxnSpPr>
          <p:cNvPr id="10" name="Gerade Verbindung 9"/>
          <p:cNvCxnSpPr/>
          <p:nvPr userDrawn="1"/>
        </p:nvCxnSpPr>
        <p:spPr>
          <a:xfrm>
            <a:off x="0" y="2492389"/>
            <a:ext cx="12192000" cy="0"/>
          </a:xfrm>
          <a:prstGeom prst="line">
            <a:avLst/>
          </a:prstGeom>
          <a:ln w="1270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5" name="Textplatzhalter 24"/>
          <p:cNvSpPr>
            <a:spLocks noGrp="1"/>
          </p:cNvSpPr>
          <p:nvPr>
            <p:ph type="body" sz="quarter" idx="13" hasCustomPrompt="1"/>
          </p:nvPr>
        </p:nvSpPr>
        <p:spPr>
          <a:xfrm>
            <a:off x="6088023" y="508775"/>
            <a:ext cx="3691200" cy="3691200"/>
          </a:xfrm>
          <a:prstGeom prst="ellipse">
            <a:avLst/>
          </a:prstGeom>
          <a:gradFill>
            <a:gsLst>
              <a:gs pos="0">
                <a:schemeClr val="bg1"/>
              </a:gs>
              <a:gs pos="100000">
                <a:schemeClr val="bg1">
                  <a:alpha val="59000"/>
                </a:schemeClr>
              </a:gs>
            </a:gsLst>
            <a:lin ang="9000000" scaled="0"/>
          </a:gradFill>
          <a:ln>
            <a:noFill/>
          </a:ln>
        </p:spPr>
        <p:txBody>
          <a:bodyPr anchor="ctr" anchorCtr="0"/>
          <a:lstStyle>
            <a:lvl1pPr marL="0" indent="0" algn="ctr">
              <a:spcBef>
                <a:spcPts val="0"/>
              </a:spcBef>
              <a:buNone/>
              <a:defRPr sz="2400" b="0" i="0" baseline="0">
                <a:solidFill>
                  <a:srgbClr val="003366"/>
                </a:solidFill>
                <a:latin typeface="BISansOptiCond"/>
                <a:cs typeface="BISansOptiCond"/>
              </a:defRPr>
            </a:lvl1pPr>
          </a:lstStyle>
          <a:p>
            <a:pPr lvl="0"/>
            <a:r>
              <a:rPr lang="en-GB" noProof="0" dirty="0"/>
              <a:t>Click to add text</a:t>
            </a:r>
          </a:p>
        </p:txBody>
      </p:sp>
      <p:pic>
        <p:nvPicPr>
          <p:cNvPr id="9" name="Grafik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26261" y="5889117"/>
            <a:ext cx="1679601" cy="508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92655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title_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hteck 1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rgbClr val="89C0FF"/>
              </a:gs>
              <a:gs pos="100000">
                <a:srgbClr val="5486C1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noProof="0" dirty="0">
              <a:latin typeface="BISansOpti"/>
            </a:endParaRPr>
          </a:p>
        </p:txBody>
      </p:sp>
      <p:cxnSp>
        <p:nvCxnSpPr>
          <p:cNvPr id="17" name="Gerade Verbindung 16"/>
          <p:cNvCxnSpPr/>
          <p:nvPr/>
        </p:nvCxnSpPr>
        <p:spPr>
          <a:xfrm>
            <a:off x="0" y="2492389"/>
            <a:ext cx="12192000" cy="0"/>
          </a:xfrm>
          <a:prstGeom prst="line">
            <a:avLst/>
          </a:prstGeom>
          <a:ln w="1270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Textplatzhalter 18"/>
          <p:cNvSpPr>
            <a:spLocks noGrp="1"/>
          </p:cNvSpPr>
          <p:nvPr>
            <p:ph type="body" sz="quarter" idx="11" hasCustomPrompt="1"/>
          </p:nvPr>
        </p:nvSpPr>
        <p:spPr>
          <a:xfrm>
            <a:off x="469106" y="2640129"/>
            <a:ext cx="5412316" cy="1477328"/>
          </a:xfrm>
        </p:spPr>
        <p:txBody>
          <a:bodyPr wrap="square">
            <a:spAutoFit/>
          </a:bodyPr>
          <a:lstStyle>
            <a:lvl1pPr marL="0" indent="0">
              <a:buNone/>
              <a:defRPr sz="4800" b="0" i="0">
                <a:solidFill>
                  <a:schemeClr val="bg1"/>
                </a:solidFill>
                <a:latin typeface="BISansOptiCond"/>
                <a:cs typeface="BISansOptiCond"/>
              </a:defRPr>
            </a:lvl1pPr>
          </a:lstStyle>
          <a:p>
            <a:pPr lvl="0"/>
            <a:r>
              <a:rPr lang="en-GB" noProof="0"/>
              <a:t>Click to add chapter title</a:t>
            </a:r>
          </a:p>
        </p:txBody>
      </p:sp>
      <p:sp>
        <p:nvSpPr>
          <p:cNvPr id="20" name="Textplatzhalt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469105" y="4623796"/>
            <a:ext cx="3939523" cy="369332"/>
          </a:xfrm>
        </p:spPr>
        <p:txBody>
          <a:bodyPr wrap="square">
            <a:spAutoFit/>
          </a:bodyPr>
          <a:lstStyle>
            <a:lvl1pPr marL="0" indent="0">
              <a:buNone/>
              <a:defRPr sz="2400" b="0" i="0">
                <a:solidFill>
                  <a:schemeClr val="bg1"/>
                </a:solidFill>
                <a:latin typeface="BISansOptiCond"/>
                <a:cs typeface="BISansOptiCond"/>
              </a:defRPr>
            </a:lvl1pPr>
          </a:lstStyle>
          <a:p>
            <a:pPr lvl="0"/>
            <a:r>
              <a:rPr lang="en-GB" noProof="0" dirty="0"/>
              <a:t>Click to add text</a:t>
            </a:r>
          </a:p>
        </p:txBody>
      </p:sp>
      <p:cxnSp>
        <p:nvCxnSpPr>
          <p:cNvPr id="13" name="Gerade Verbindung 12"/>
          <p:cNvCxnSpPr/>
          <p:nvPr userDrawn="1"/>
        </p:nvCxnSpPr>
        <p:spPr>
          <a:xfrm>
            <a:off x="0" y="2492389"/>
            <a:ext cx="12192000" cy="0"/>
          </a:xfrm>
          <a:prstGeom prst="line">
            <a:avLst/>
          </a:prstGeom>
          <a:ln w="1270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Textplatzhalter 24"/>
          <p:cNvSpPr>
            <a:spLocks noGrp="1"/>
          </p:cNvSpPr>
          <p:nvPr>
            <p:ph type="body" sz="quarter" idx="14" hasCustomPrompt="1"/>
          </p:nvPr>
        </p:nvSpPr>
        <p:spPr>
          <a:xfrm>
            <a:off x="6088023" y="508775"/>
            <a:ext cx="3691200" cy="3691200"/>
          </a:xfrm>
          <a:prstGeom prst="ellipse">
            <a:avLst/>
          </a:prstGeom>
          <a:gradFill>
            <a:gsLst>
              <a:gs pos="0">
                <a:schemeClr val="bg1"/>
              </a:gs>
              <a:gs pos="100000">
                <a:schemeClr val="bg1">
                  <a:alpha val="59000"/>
                </a:schemeClr>
              </a:gs>
            </a:gsLst>
            <a:lin ang="9000000" scaled="0"/>
          </a:gradFill>
          <a:ln>
            <a:noFill/>
          </a:ln>
        </p:spPr>
        <p:txBody>
          <a:bodyPr anchor="ctr" anchorCtr="0"/>
          <a:lstStyle>
            <a:lvl1pPr marL="0" indent="0" algn="ctr">
              <a:spcBef>
                <a:spcPts val="0"/>
              </a:spcBef>
              <a:buNone/>
              <a:defRPr sz="2400" b="0" i="0" baseline="0">
                <a:solidFill>
                  <a:srgbClr val="003366"/>
                </a:solidFill>
                <a:latin typeface="BISansOptiCond"/>
                <a:cs typeface="BISansOptiCond"/>
              </a:defRPr>
            </a:lvl1pPr>
          </a:lstStyle>
          <a:p>
            <a:pPr lvl="0"/>
            <a:r>
              <a:rPr lang="en-GB" noProof="0" dirty="0"/>
              <a:t>Click to add text</a:t>
            </a:r>
          </a:p>
        </p:txBody>
      </p:sp>
      <p:sp>
        <p:nvSpPr>
          <p:cNvPr id="23" name="Bildplatzhalter 22"/>
          <p:cNvSpPr>
            <a:spLocks noGrp="1"/>
          </p:cNvSpPr>
          <p:nvPr>
            <p:ph type="pic" sz="quarter" idx="13" hasCustomPrompt="1"/>
          </p:nvPr>
        </p:nvSpPr>
        <p:spPr>
          <a:xfrm>
            <a:off x="4478891" y="3123733"/>
            <a:ext cx="3014400" cy="3014400"/>
          </a:xfrm>
          <a:prstGeom prst="ellipse">
            <a:avLst/>
          </a:prstGeo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lang="en-GB" noProof="0" dirty="0"/>
              <a:t>Click to add picture</a:t>
            </a:r>
          </a:p>
        </p:txBody>
      </p:sp>
      <p:pic>
        <p:nvPicPr>
          <p:cNvPr id="10" name="Grafik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26261" y="5889117"/>
            <a:ext cx="1679601" cy="508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922074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page_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 userDrawn="1"/>
        </p:nvSpPr>
        <p:spPr>
          <a:xfrm>
            <a:off x="0" y="2928494"/>
            <a:ext cx="12192000" cy="3929507"/>
          </a:xfrm>
          <a:prstGeom prst="rect">
            <a:avLst/>
          </a:prstGeom>
          <a:gradFill>
            <a:gsLst>
              <a:gs pos="0">
                <a:srgbClr val="6699CC">
                  <a:alpha val="40000"/>
                </a:srgbClr>
              </a:gs>
              <a:gs pos="100000">
                <a:srgbClr val="FFFFFF"/>
              </a:gs>
            </a:gsLst>
            <a:lin ang="162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sz="1400" noProof="0" dirty="0">
              <a:solidFill>
                <a:schemeClr val="tx1"/>
              </a:solidFill>
              <a:latin typeface="BISansOpti"/>
            </a:endParaRPr>
          </a:p>
        </p:txBody>
      </p:sp>
      <p:cxnSp>
        <p:nvCxnSpPr>
          <p:cNvPr id="5" name="Gerade Verbindung 4"/>
          <p:cNvCxnSpPr/>
          <p:nvPr userDrawn="1"/>
        </p:nvCxnSpPr>
        <p:spPr>
          <a:xfrm>
            <a:off x="0" y="971453"/>
            <a:ext cx="12192000" cy="0"/>
          </a:xfrm>
          <a:prstGeom prst="line">
            <a:avLst/>
          </a:prstGeom>
          <a:ln w="12700">
            <a:solidFill>
              <a:srgbClr val="0033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F32123-699C-4885-8DB5-0A5F2829306D}" type="datetime1">
              <a:rPr lang="en-GB" smtClean="0"/>
              <a:t>14/12/2021</a:t>
            </a:fld>
            <a:endParaRPr lang="en-GB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CMD T.C.M. / MCM</a:t>
            </a:r>
            <a:endParaRPr lang="en-GB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3B55C4-4F5A-416B-997D-6CE47EB0A94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Titel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Click to add headline</a:t>
            </a:r>
          </a:p>
        </p:txBody>
      </p:sp>
      <p:pic>
        <p:nvPicPr>
          <p:cNvPr id="10" name="Grafik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5924" y="6485509"/>
            <a:ext cx="840360" cy="2540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32435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page_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/>
          <p:cNvSpPr/>
          <p:nvPr userDrawn="1"/>
        </p:nvSpPr>
        <p:spPr>
          <a:xfrm>
            <a:off x="0" y="2928494"/>
            <a:ext cx="12192000" cy="3929507"/>
          </a:xfrm>
          <a:prstGeom prst="rect">
            <a:avLst/>
          </a:prstGeom>
          <a:gradFill>
            <a:gsLst>
              <a:gs pos="0">
                <a:srgbClr val="6699CC">
                  <a:alpha val="40000"/>
                </a:srgbClr>
              </a:gs>
              <a:gs pos="100000">
                <a:srgbClr val="FFFFFF"/>
              </a:gs>
            </a:gsLst>
            <a:lin ang="162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sz="1400" noProof="0" dirty="0">
              <a:solidFill>
                <a:schemeClr val="tx1"/>
              </a:solidFill>
              <a:latin typeface="BISansOpti"/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/>
        <p:txBody>
          <a:bodyPr/>
          <a:lstStyle/>
          <a:p>
            <a:pPr lvl="0"/>
            <a:r>
              <a:rPr lang="en-GB" noProof="0" dirty="0"/>
              <a:t>Click to add text</a:t>
            </a:r>
          </a:p>
        </p:txBody>
      </p:sp>
      <p:cxnSp>
        <p:nvCxnSpPr>
          <p:cNvPr id="7" name="Gerade Verbindung 6"/>
          <p:cNvCxnSpPr/>
          <p:nvPr userDrawn="1"/>
        </p:nvCxnSpPr>
        <p:spPr>
          <a:xfrm>
            <a:off x="0" y="971453"/>
            <a:ext cx="12192000" cy="0"/>
          </a:xfrm>
          <a:prstGeom prst="line">
            <a:avLst/>
          </a:prstGeom>
          <a:ln w="12700">
            <a:solidFill>
              <a:srgbClr val="0033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662D8A-BE9F-4A69-8493-95930ABCE47C}" type="datetime1">
              <a:rPr lang="en-GB" smtClean="0"/>
              <a:t>14/12/2021</a:t>
            </a:fld>
            <a:endParaRPr lang="en-GB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CMD T.C.M. / MCM</a:t>
            </a:r>
            <a:endParaRPr lang="en-GB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3B55C4-4F5A-416B-997D-6CE47EB0A94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Titel 7"/>
          <p:cNvSpPr>
            <a:spLocks noGrp="1"/>
          </p:cNvSpPr>
          <p:nvPr>
            <p:ph type="title" hasCustomPrompt="1"/>
          </p:nvPr>
        </p:nvSpPr>
        <p:spPr>
          <a:xfrm>
            <a:off x="490100" y="187200"/>
            <a:ext cx="11211800" cy="553998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 noProof="0"/>
              <a:t>Click to add headline</a:t>
            </a:r>
          </a:p>
        </p:txBody>
      </p:sp>
      <p:pic>
        <p:nvPicPr>
          <p:cNvPr id="10" name="Grafik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5924" y="6485509"/>
            <a:ext cx="840360" cy="2540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53653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page_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11"/>
          <p:cNvSpPr/>
          <p:nvPr userDrawn="1"/>
        </p:nvSpPr>
        <p:spPr>
          <a:xfrm>
            <a:off x="0" y="2928494"/>
            <a:ext cx="12192000" cy="3929507"/>
          </a:xfrm>
          <a:prstGeom prst="rect">
            <a:avLst/>
          </a:prstGeom>
          <a:gradFill>
            <a:gsLst>
              <a:gs pos="0">
                <a:srgbClr val="6699CC">
                  <a:alpha val="40000"/>
                </a:srgbClr>
              </a:gs>
              <a:gs pos="100000">
                <a:srgbClr val="FFFFFF"/>
              </a:gs>
            </a:gsLst>
            <a:lin ang="162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sz="1400" noProof="0" dirty="0">
              <a:solidFill>
                <a:schemeClr val="tx1"/>
              </a:solidFill>
              <a:latin typeface="BISansOpti"/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pPr lvl="0"/>
            <a:r>
              <a:rPr lang="en-GB" noProof="0" dirty="0"/>
              <a:t>Click to add text</a:t>
            </a:r>
          </a:p>
        </p:txBody>
      </p:sp>
      <p:cxnSp>
        <p:nvCxnSpPr>
          <p:cNvPr id="5" name="Gerade Verbindung 4"/>
          <p:cNvCxnSpPr/>
          <p:nvPr/>
        </p:nvCxnSpPr>
        <p:spPr>
          <a:xfrm>
            <a:off x="0" y="971453"/>
            <a:ext cx="12192000" cy="0"/>
          </a:xfrm>
          <a:prstGeom prst="line">
            <a:avLst/>
          </a:prstGeom>
          <a:ln w="12700">
            <a:solidFill>
              <a:srgbClr val="0033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10"/>
          <p:cNvCxnSpPr/>
          <p:nvPr userDrawn="1"/>
        </p:nvCxnSpPr>
        <p:spPr>
          <a:xfrm>
            <a:off x="0" y="971453"/>
            <a:ext cx="12192000" cy="0"/>
          </a:xfrm>
          <a:prstGeom prst="line">
            <a:avLst/>
          </a:prstGeom>
          <a:ln w="12700">
            <a:solidFill>
              <a:srgbClr val="0033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E26200-94CF-44C7-A13B-4E453F496969}" type="datetime1">
              <a:rPr lang="en-GB" smtClean="0"/>
              <a:t>14/12/2021</a:t>
            </a:fld>
            <a:endParaRPr lang="en-GB" dirty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CMD T.C.M. / MCM</a:t>
            </a:r>
            <a:endParaRPr lang="en-GB"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3B55C4-4F5A-416B-997D-6CE47EB0A94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4" name="Titel 7"/>
          <p:cNvSpPr>
            <a:spLocks noGrp="1"/>
          </p:cNvSpPr>
          <p:nvPr>
            <p:ph type="title" hasCustomPrompt="1"/>
          </p:nvPr>
        </p:nvSpPr>
        <p:spPr>
          <a:xfrm>
            <a:off x="490100" y="387429"/>
            <a:ext cx="11211800" cy="369332"/>
          </a:xfrm>
        </p:spPr>
        <p:txBody>
          <a:bodyPr/>
          <a:lstStyle/>
          <a:p>
            <a:r>
              <a:rPr lang="en-GB" noProof="0" dirty="0"/>
              <a:t>Click to add headline</a:t>
            </a:r>
          </a:p>
        </p:txBody>
      </p:sp>
      <p:pic>
        <p:nvPicPr>
          <p:cNvPr id="15" name="Grafik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5924" y="6485509"/>
            <a:ext cx="840360" cy="2540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75731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page_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11"/>
          <p:cNvSpPr/>
          <p:nvPr userDrawn="1"/>
        </p:nvSpPr>
        <p:spPr>
          <a:xfrm>
            <a:off x="0" y="2928494"/>
            <a:ext cx="12192000" cy="3929507"/>
          </a:xfrm>
          <a:prstGeom prst="rect">
            <a:avLst/>
          </a:prstGeom>
          <a:gradFill>
            <a:gsLst>
              <a:gs pos="0">
                <a:srgbClr val="6699CC">
                  <a:alpha val="40000"/>
                </a:srgbClr>
              </a:gs>
              <a:gs pos="100000">
                <a:srgbClr val="FFFFFF"/>
              </a:gs>
            </a:gsLst>
            <a:lin ang="162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sz="1400" noProof="0" dirty="0">
              <a:solidFill>
                <a:schemeClr val="tx1"/>
              </a:solidFill>
              <a:latin typeface="BISansOpti"/>
            </a:endParaRPr>
          </a:p>
        </p:txBody>
      </p:sp>
      <p:cxnSp>
        <p:nvCxnSpPr>
          <p:cNvPr id="5" name="Gerade Verbindung 4"/>
          <p:cNvCxnSpPr/>
          <p:nvPr/>
        </p:nvCxnSpPr>
        <p:spPr>
          <a:xfrm>
            <a:off x="0" y="971453"/>
            <a:ext cx="12192000" cy="0"/>
          </a:xfrm>
          <a:prstGeom prst="line">
            <a:avLst/>
          </a:prstGeom>
          <a:ln w="12700">
            <a:solidFill>
              <a:srgbClr val="0033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10"/>
          <p:cNvCxnSpPr/>
          <p:nvPr userDrawn="1"/>
        </p:nvCxnSpPr>
        <p:spPr>
          <a:xfrm>
            <a:off x="0" y="971453"/>
            <a:ext cx="12192000" cy="0"/>
          </a:xfrm>
          <a:prstGeom prst="line">
            <a:avLst/>
          </a:prstGeom>
          <a:ln w="12700">
            <a:solidFill>
              <a:srgbClr val="0033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D25C46-7710-43E6-A112-18F0D8FB16CF}" type="datetime1">
              <a:rPr lang="en-GB" smtClean="0"/>
              <a:t>14/12/2021</a:t>
            </a:fld>
            <a:endParaRPr lang="en-GB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CMD T.C.M. / MCM</a:t>
            </a:r>
            <a:endParaRPr lang="en-GB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3B55C4-4F5A-416B-997D-6CE47EB0A94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5" name="Titel 7"/>
          <p:cNvSpPr>
            <a:spLocks noGrp="1"/>
          </p:cNvSpPr>
          <p:nvPr>
            <p:ph type="title" hasCustomPrompt="1"/>
          </p:nvPr>
        </p:nvSpPr>
        <p:spPr>
          <a:xfrm>
            <a:off x="490100" y="387429"/>
            <a:ext cx="11211800" cy="369332"/>
          </a:xfrm>
        </p:spPr>
        <p:txBody>
          <a:bodyPr/>
          <a:lstStyle/>
          <a:p>
            <a:r>
              <a:rPr lang="en-GB" noProof="0" dirty="0"/>
              <a:t>Click to add headline</a:t>
            </a:r>
          </a:p>
        </p:txBody>
      </p:sp>
      <p:pic>
        <p:nvPicPr>
          <p:cNvPr id="16" name="Grafik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5924" y="6485509"/>
            <a:ext cx="840360" cy="254013"/>
          </a:xfrm>
          <a:prstGeom prst="rect">
            <a:avLst/>
          </a:prstGeom>
        </p:spPr>
      </p:pic>
      <p:sp>
        <p:nvSpPr>
          <p:cNvPr id="7" name="Inhaltsplatzhalter 6"/>
          <p:cNvSpPr>
            <a:spLocks noGrp="1"/>
          </p:cNvSpPr>
          <p:nvPr>
            <p:ph sz="quarter" idx="13" hasCustomPrompt="1"/>
          </p:nvPr>
        </p:nvSpPr>
        <p:spPr>
          <a:xfrm>
            <a:off x="2361600" y="1598400"/>
            <a:ext cx="7488000" cy="4526400"/>
          </a:xfrm>
        </p:spPr>
        <p:txBody>
          <a:bodyPr/>
          <a:lstStyle>
            <a:lvl1pPr marL="0" indent="0">
              <a:spcBef>
                <a:spcPts val="600"/>
              </a:spcBef>
              <a:buNone/>
              <a:defRPr>
                <a:latin typeface="+mn-lt"/>
              </a:defRPr>
            </a:lvl1pPr>
            <a:lvl2pPr marL="266700" indent="0">
              <a:buNone/>
              <a:defRPr>
                <a:latin typeface="+mn-lt"/>
              </a:defRPr>
            </a:lvl2pPr>
            <a:lvl3pPr marL="450850" indent="0">
              <a:buNone/>
              <a:defRPr>
                <a:latin typeface="+mn-lt"/>
              </a:defRPr>
            </a:lvl3pPr>
            <a:lvl4pPr marL="628650" indent="0">
              <a:buNone/>
              <a:defRPr>
                <a:latin typeface="+mn-lt"/>
              </a:defRPr>
            </a:lvl4pPr>
            <a:lvl5pPr marL="806450" indent="0">
              <a:buNone/>
              <a:defRPr>
                <a:latin typeface="+mn-lt"/>
              </a:defRPr>
            </a:lvl5pPr>
          </a:lstStyle>
          <a:p>
            <a:pPr lvl="0"/>
            <a:r>
              <a:rPr lang="en-GB" noProof="0" dirty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30760438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gram slide_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hteck 13"/>
          <p:cNvSpPr/>
          <p:nvPr userDrawn="1"/>
        </p:nvSpPr>
        <p:spPr>
          <a:xfrm>
            <a:off x="0" y="2928494"/>
            <a:ext cx="12192000" cy="3929507"/>
          </a:xfrm>
          <a:prstGeom prst="rect">
            <a:avLst/>
          </a:prstGeom>
          <a:gradFill>
            <a:gsLst>
              <a:gs pos="0">
                <a:srgbClr val="6699CC">
                  <a:alpha val="40000"/>
                </a:srgbClr>
              </a:gs>
              <a:gs pos="100000">
                <a:srgbClr val="FFFFFF"/>
              </a:gs>
            </a:gsLst>
            <a:lin ang="162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sz="1400" noProof="0" dirty="0">
              <a:solidFill>
                <a:schemeClr val="tx1"/>
              </a:solidFill>
              <a:latin typeface="BISansOpti"/>
            </a:endParaRPr>
          </a:p>
        </p:txBody>
      </p:sp>
      <p:sp>
        <p:nvSpPr>
          <p:cNvPr id="15" name="Rechteck 14"/>
          <p:cNvSpPr/>
          <p:nvPr userDrawn="1"/>
        </p:nvSpPr>
        <p:spPr>
          <a:xfrm>
            <a:off x="0" y="1380788"/>
            <a:ext cx="12192000" cy="3929507"/>
          </a:xfrm>
          <a:prstGeom prst="rect">
            <a:avLst/>
          </a:prstGeom>
          <a:gradFill>
            <a:gsLst>
              <a:gs pos="0">
                <a:srgbClr val="6699CC">
                  <a:alpha val="40000"/>
                </a:srgbClr>
              </a:gs>
              <a:gs pos="100000">
                <a:srgbClr val="FFFFFF"/>
              </a:gs>
            </a:gsLst>
            <a:lin ang="162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sz="1400" noProof="0" dirty="0">
              <a:solidFill>
                <a:schemeClr val="tx1"/>
              </a:solidFill>
              <a:latin typeface="BISansOpti"/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490102" y="1600202"/>
            <a:ext cx="3912567" cy="3710092"/>
          </a:xfrm>
        </p:spPr>
        <p:txBody>
          <a:bodyPr/>
          <a:lstStyle/>
          <a:p>
            <a:pPr lvl="0"/>
            <a:r>
              <a:rPr lang="en-GB" noProof="0" dirty="0"/>
              <a:t>Click to add text</a:t>
            </a:r>
          </a:p>
        </p:txBody>
      </p:sp>
      <p:cxnSp>
        <p:nvCxnSpPr>
          <p:cNvPr id="5" name="Gerade Verbindung 4"/>
          <p:cNvCxnSpPr/>
          <p:nvPr/>
        </p:nvCxnSpPr>
        <p:spPr>
          <a:xfrm>
            <a:off x="0" y="971453"/>
            <a:ext cx="12192000" cy="0"/>
          </a:xfrm>
          <a:prstGeom prst="line">
            <a:avLst/>
          </a:prstGeom>
          <a:ln w="12700">
            <a:solidFill>
              <a:srgbClr val="0033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12"/>
          <p:cNvCxnSpPr/>
          <p:nvPr userDrawn="1"/>
        </p:nvCxnSpPr>
        <p:spPr>
          <a:xfrm>
            <a:off x="0" y="971453"/>
            <a:ext cx="12192000" cy="0"/>
          </a:xfrm>
          <a:prstGeom prst="line">
            <a:avLst/>
          </a:prstGeom>
          <a:ln w="12700">
            <a:solidFill>
              <a:srgbClr val="0033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43AC86-B735-44FC-8D81-4D2E25D24EF3}" type="datetime1">
              <a:rPr lang="en-GB" smtClean="0"/>
              <a:t>14/12/2021</a:t>
            </a:fld>
            <a:endParaRPr lang="en-GB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CMD T.C.M. / MCM</a:t>
            </a:r>
            <a:endParaRPr lang="en-GB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3B55C4-4F5A-416B-997D-6CE47EB0A94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2" name="Titel 7"/>
          <p:cNvSpPr>
            <a:spLocks noGrp="1"/>
          </p:cNvSpPr>
          <p:nvPr>
            <p:ph type="title" hasCustomPrompt="1"/>
          </p:nvPr>
        </p:nvSpPr>
        <p:spPr>
          <a:xfrm>
            <a:off x="490100" y="387429"/>
            <a:ext cx="11211800" cy="369332"/>
          </a:xfrm>
        </p:spPr>
        <p:txBody>
          <a:bodyPr/>
          <a:lstStyle/>
          <a:p>
            <a:r>
              <a:rPr lang="en-GB" noProof="0" dirty="0"/>
              <a:t>Click to add headline</a:t>
            </a:r>
          </a:p>
        </p:txBody>
      </p:sp>
      <p:pic>
        <p:nvPicPr>
          <p:cNvPr id="16" name="Grafik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5924" y="6485509"/>
            <a:ext cx="840360" cy="2540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25295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_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eck 12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rgbClr val="89C0FF"/>
              </a:gs>
              <a:gs pos="100000">
                <a:srgbClr val="5486C1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dirty="0">
              <a:solidFill>
                <a:prstClr val="white"/>
              </a:solidFill>
            </a:endParaRPr>
          </a:p>
        </p:txBody>
      </p:sp>
      <p:cxnSp>
        <p:nvCxnSpPr>
          <p:cNvPr id="17" name="Gerade Verbindung 16"/>
          <p:cNvCxnSpPr/>
          <p:nvPr/>
        </p:nvCxnSpPr>
        <p:spPr>
          <a:xfrm>
            <a:off x="0" y="2492389"/>
            <a:ext cx="12192000" cy="0"/>
          </a:xfrm>
          <a:prstGeom prst="line">
            <a:avLst/>
          </a:prstGeom>
          <a:ln w="1270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Textplatzhalter 18"/>
          <p:cNvSpPr>
            <a:spLocks noGrp="1"/>
          </p:cNvSpPr>
          <p:nvPr>
            <p:ph type="body" sz="quarter" idx="11"/>
          </p:nvPr>
        </p:nvSpPr>
        <p:spPr>
          <a:xfrm>
            <a:off x="469106" y="2640129"/>
            <a:ext cx="5412316" cy="1477328"/>
          </a:xfrm>
        </p:spPr>
        <p:txBody>
          <a:bodyPr wrap="square">
            <a:spAutoFit/>
          </a:bodyPr>
          <a:lstStyle>
            <a:lvl1pPr marL="0" indent="0">
              <a:buNone/>
              <a:defRPr sz="4800">
                <a:solidFill>
                  <a:schemeClr val="bg1"/>
                </a:solidFill>
                <a:latin typeface="BISansCond" panose="02000006050000020004" pitchFamily="2" charset="0"/>
              </a:defRPr>
            </a:lvl1pPr>
          </a:lstStyle>
          <a:p>
            <a:pPr lvl="0"/>
            <a:r>
              <a:rPr lang="en-US" altLang="zh-TW" noProof="0"/>
              <a:t>Click to edit Master text styles</a:t>
            </a:r>
          </a:p>
        </p:txBody>
      </p:sp>
      <p:sp>
        <p:nvSpPr>
          <p:cNvPr id="20" name="Textplatzhalter 18"/>
          <p:cNvSpPr>
            <a:spLocks noGrp="1"/>
          </p:cNvSpPr>
          <p:nvPr>
            <p:ph type="body" sz="quarter" idx="12"/>
          </p:nvPr>
        </p:nvSpPr>
        <p:spPr>
          <a:xfrm>
            <a:off x="469105" y="3718148"/>
            <a:ext cx="5412315" cy="369332"/>
          </a:xfrm>
        </p:spPr>
        <p:txBody>
          <a:bodyPr wrap="square">
            <a:spAutoFit/>
          </a:bodyPr>
          <a:lstStyle>
            <a:lvl1pPr marL="0" indent="0">
              <a:buNone/>
              <a:defRPr sz="2400">
                <a:solidFill>
                  <a:schemeClr val="bg1"/>
                </a:solidFill>
                <a:latin typeface="BISansCond" panose="02000006050000020004" pitchFamily="2" charset="0"/>
              </a:defRPr>
            </a:lvl1pPr>
          </a:lstStyle>
          <a:p>
            <a:pPr lvl="0"/>
            <a:r>
              <a:rPr lang="en-US" altLang="zh-TW" noProof="0"/>
              <a:t>Click to edit Master text styles</a:t>
            </a:r>
          </a:p>
        </p:txBody>
      </p:sp>
      <p:cxnSp>
        <p:nvCxnSpPr>
          <p:cNvPr id="10" name="Gerade Verbindung 9"/>
          <p:cNvCxnSpPr/>
          <p:nvPr userDrawn="1"/>
        </p:nvCxnSpPr>
        <p:spPr>
          <a:xfrm>
            <a:off x="0" y="2492389"/>
            <a:ext cx="12192000" cy="0"/>
          </a:xfrm>
          <a:prstGeom prst="line">
            <a:avLst/>
          </a:prstGeom>
          <a:ln w="1270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5" name="Textplatzhalter 24"/>
          <p:cNvSpPr>
            <a:spLocks noGrp="1"/>
          </p:cNvSpPr>
          <p:nvPr>
            <p:ph type="body" sz="quarter" idx="13" hasCustomPrompt="1"/>
          </p:nvPr>
        </p:nvSpPr>
        <p:spPr>
          <a:xfrm>
            <a:off x="6088023" y="970175"/>
            <a:ext cx="3691200" cy="2768400"/>
          </a:xfrm>
          <a:prstGeom prst="ellipse">
            <a:avLst/>
          </a:prstGeom>
          <a:gradFill>
            <a:gsLst>
              <a:gs pos="0">
                <a:schemeClr val="bg1"/>
              </a:gs>
              <a:gs pos="100000">
                <a:schemeClr val="bg1">
                  <a:alpha val="59000"/>
                </a:schemeClr>
              </a:gs>
            </a:gsLst>
            <a:lin ang="9000000" scaled="0"/>
          </a:gradFill>
          <a:ln>
            <a:noFill/>
          </a:ln>
        </p:spPr>
        <p:txBody>
          <a:bodyPr anchor="ctr" anchorCtr="0"/>
          <a:lstStyle>
            <a:lvl1pPr marL="0" indent="0" algn="ctr">
              <a:spcBef>
                <a:spcPts val="0"/>
              </a:spcBef>
              <a:buNone/>
              <a:defRPr sz="2400">
                <a:solidFill>
                  <a:srgbClr val="003366"/>
                </a:solidFill>
                <a:latin typeface="BISansCond" panose="02000006050000020004" pitchFamily="2" charset="0"/>
              </a:defRPr>
            </a:lvl1pPr>
          </a:lstStyle>
          <a:p>
            <a:pPr lvl="0"/>
            <a:r>
              <a:rPr lang="en-GB" noProof="0" dirty="0" err="1"/>
              <a:t>Textmaster</a:t>
            </a:r>
            <a:r>
              <a:rPr lang="en-GB" noProof="0" dirty="0"/>
              <a:t>-format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26260" y="6120399"/>
            <a:ext cx="1679601" cy="381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47610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lide_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11"/>
          <p:cNvSpPr/>
          <p:nvPr userDrawn="1"/>
        </p:nvSpPr>
        <p:spPr>
          <a:xfrm>
            <a:off x="0" y="2928494"/>
            <a:ext cx="12192000" cy="3929507"/>
          </a:xfrm>
          <a:prstGeom prst="rect">
            <a:avLst/>
          </a:prstGeom>
          <a:gradFill>
            <a:gsLst>
              <a:gs pos="0">
                <a:srgbClr val="6699CC">
                  <a:alpha val="40000"/>
                </a:srgbClr>
              </a:gs>
              <a:gs pos="100000">
                <a:srgbClr val="FFFFFF"/>
              </a:gs>
            </a:gsLst>
            <a:lin ang="162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sz="1400" noProof="0" dirty="0">
              <a:solidFill>
                <a:schemeClr val="tx1"/>
              </a:solidFill>
              <a:latin typeface="BISansOpti"/>
            </a:endParaRPr>
          </a:p>
        </p:txBody>
      </p:sp>
      <p:sp>
        <p:nvSpPr>
          <p:cNvPr id="15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-226475" y="1038415"/>
            <a:ext cx="2318400" cy="2318400"/>
          </a:xfrm>
          <a:prstGeom prst="ellipse">
            <a:avLst/>
          </a:prstGeom>
          <a:solidFill>
            <a:srgbClr val="6699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>
            <a:lvl1pPr marL="0" indent="0" algn="ctr">
              <a:buNone/>
              <a:defRPr lang="en-US" sz="2000" b="0" i="0" dirty="0" smtClean="0">
                <a:solidFill>
                  <a:schemeClr val="bg1"/>
                </a:solidFill>
                <a:latin typeface="BISansOptiCond"/>
                <a:cs typeface="BISansOptiCond"/>
              </a:defRPr>
            </a:lvl1pPr>
          </a:lstStyle>
          <a:p>
            <a:pPr marL="0" lvl="0" algn="ctr"/>
            <a:r>
              <a:rPr lang="en-GB" noProof="0"/>
              <a:t>Add. info [font size variable]</a:t>
            </a:r>
          </a:p>
        </p:txBody>
      </p:sp>
      <p:cxnSp>
        <p:nvCxnSpPr>
          <p:cNvPr id="6" name="Gerade Verbindung 5"/>
          <p:cNvCxnSpPr/>
          <p:nvPr/>
        </p:nvCxnSpPr>
        <p:spPr>
          <a:xfrm>
            <a:off x="0" y="1691647"/>
            <a:ext cx="12192000" cy="0"/>
          </a:xfrm>
          <a:prstGeom prst="line">
            <a:avLst/>
          </a:prstGeom>
          <a:ln w="12700">
            <a:solidFill>
              <a:srgbClr val="FF99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10"/>
          <p:cNvCxnSpPr/>
          <p:nvPr userDrawn="1"/>
        </p:nvCxnSpPr>
        <p:spPr>
          <a:xfrm>
            <a:off x="0" y="1691647"/>
            <a:ext cx="12192000" cy="0"/>
          </a:xfrm>
          <a:prstGeom prst="line">
            <a:avLst/>
          </a:prstGeom>
          <a:ln w="12700">
            <a:solidFill>
              <a:srgbClr val="FF99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" name="Datumsplatzhalter 3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8B732074-B0F4-4091-B8CC-8AE3A66DDA27}" type="datetime1">
              <a:rPr lang="en-GB" smtClean="0"/>
              <a:t>14/12/2021</a:t>
            </a:fld>
            <a:endParaRPr lang="en-GB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GB"/>
              <a:t>CMD T.C.M. / MCM</a:t>
            </a:r>
            <a:endParaRPr lang="en-GB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143B55C4-4F5A-416B-997D-6CE47EB0A94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Titel 7"/>
          <p:cNvSpPr>
            <a:spLocks noGrp="1"/>
          </p:cNvSpPr>
          <p:nvPr>
            <p:ph type="title" hasCustomPrompt="1"/>
          </p:nvPr>
        </p:nvSpPr>
        <p:spPr>
          <a:xfrm>
            <a:off x="2362100" y="879872"/>
            <a:ext cx="6754213" cy="369332"/>
          </a:xfrm>
        </p:spPr>
        <p:txBody>
          <a:bodyPr/>
          <a:lstStyle/>
          <a:p>
            <a:r>
              <a:rPr lang="en-GB" noProof="0"/>
              <a:t>Click to add headline</a:t>
            </a:r>
          </a:p>
        </p:txBody>
      </p:sp>
      <p:pic>
        <p:nvPicPr>
          <p:cNvPr id="16" name="Grafik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5924" y="6485509"/>
            <a:ext cx="840360" cy="254013"/>
          </a:xfrm>
          <a:prstGeom prst="rect">
            <a:avLst/>
          </a:prstGeom>
        </p:spPr>
      </p:pic>
      <p:sp>
        <p:nvSpPr>
          <p:cNvPr id="13" name="Inhaltsplatzhalter 6"/>
          <p:cNvSpPr>
            <a:spLocks noGrp="1"/>
          </p:cNvSpPr>
          <p:nvPr>
            <p:ph sz="quarter" idx="15" hasCustomPrompt="1"/>
          </p:nvPr>
        </p:nvSpPr>
        <p:spPr>
          <a:xfrm>
            <a:off x="2361600" y="2006400"/>
            <a:ext cx="7488000" cy="3940800"/>
          </a:xfrm>
        </p:spPr>
        <p:txBody>
          <a:bodyPr/>
          <a:lstStyle>
            <a:lvl1pPr marL="0" indent="0">
              <a:spcBef>
                <a:spcPts val="600"/>
              </a:spcBef>
              <a:buNone/>
              <a:defRPr>
                <a:latin typeface="+mn-lt"/>
              </a:defRPr>
            </a:lvl1pPr>
            <a:lvl2pPr marL="266700" indent="0">
              <a:buNone/>
              <a:defRPr>
                <a:latin typeface="+mn-lt"/>
              </a:defRPr>
            </a:lvl2pPr>
            <a:lvl3pPr marL="450850" indent="0">
              <a:buNone/>
              <a:defRPr>
                <a:latin typeface="+mn-lt"/>
              </a:defRPr>
            </a:lvl3pPr>
            <a:lvl4pPr marL="628650" indent="0">
              <a:buNone/>
              <a:defRPr>
                <a:latin typeface="+mn-lt"/>
              </a:defRPr>
            </a:lvl4pPr>
            <a:lvl5pPr marL="806450" indent="0">
              <a:buNone/>
              <a:defRPr>
                <a:latin typeface="+mn-lt"/>
              </a:defRPr>
            </a:lvl5pPr>
          </a:lstStyle>
          <a:p>
            <a:pPr lvl="0"/>
            <a:r>
              <a:rPr lang="en-GB" noProof="0" dirty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21434610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rganisational chart_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/>
          <p:cNvSpPr/>
          <p:nvPr userDrawn="1"/>
        </p:nvSpPr>
        <p:spPr>
          <a:xfrm>
            <a:off x="0" y="2928494"/>
            <a:ext cx="12192000" cy="3929507"/>
          </a:xfrm>
          <a:prstGeom prst="rect">
            <a:avLst/>
          </a:prstGeom>
          <a:gradFill>
            <a:gsLst>
              <a:gs pos="0">
                <a:srgbClr val="6699CC">
                  <a:alpha val="40000"/>
                </a:srgbClr>
              </a:gs>
              <a:gs pos="100000">
                <a:srgbClr val="FFFFFF"/>
              </a:gs>
            </a:gsLst>
            <a:lin ang="162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sz="1400" noProof="0" dirty="0">
              <a:solidFill>
                <a:schemeClr val="tx1"/>
              </a:solidFill>
              <a:latin typeface="BISansOpti"/>
            </a:endParaRPr>
          </a:p>
        </p:txBody>
      </p:sp>
      <p:cxnSp>
        <p:nvCxnSpPr>
          <p:cNvPr id="5" name="Gerade Verbindung 4"/>
          <p:cNvCxnSpPr/>
          <p:nvPr/>
        </p:nvCxnSpPr>
        <p:spPr>
          <a:xfrm>
            <a:off x="0" y="2492389"/>
            <a:ext cx="12192000" cy="0"/>
          </a:xfrm>
          <a:prstGeom prst="line">
            <a:avLst/>
          </a:prstGeom>
          <a:ln w="12700">
            <a:solidFill>
              <a:srgbClr val="6699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Gerade Verbindung 9"/>
          <p:cNvCxnSpPr/>
          <p:nvPr userDrawn="1"/>
        </p:nvCxnSpPr>
        <p:spPr>
          <a:xfrm>
            <a:off x="0" y="2492389"/>
            <a:ext cx="12192000" cy="0"/>
          </a:xfrm>
          <a:prstGeom prst="line">
            <a:avLst/>
          </a:prstGeom>
          <a:ln w="12700">
            <a:solidFill>
              <a:srgbClr val="6699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80A240-CF5E-4987-BE4E-F261B6B802E7}" type="datetime1">
              <a:rPr lang="en-GB" smtClean="0"/>
              <a:t>14/12/2021</a:t>
            </a:fld>
            <a:endParaRPr lang="en-GB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CMD T.C.M. / MCM</a:t>
            </a:r>
            <a:endParaRPr lang="en-GB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3B55C4-4F5A-416B-997D-6CE47EB0A945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9" name="Grafik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5924" y="6485509"/>
            <a:ext cx="840360" cy="2540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75213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-al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B0F05A-EEB7-4F46-8805-BA4AFD640675}" type="datetime1">
              <a:rPr lang="en-GB" noProof="0" smtClean="0"/>
              <a:t>14/12/2021</a:t>
            </a:fld>
            <a:endParaRPr lang="en-GB" noProof="0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CMD T.C.M. / MCM</a:t>
            </a:r>
            <a:endParaRPr lang="en-GB" noProof="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3B55C4-4F5A-416B-997D-6CE47EB0A945}" type="slidenum">
              <a:rPr lang="en-GB" noProof="0" smtClean="0"/>
              <a:t>‹#›</a:t>
            </a:fld>
            <a:endParaRPr lang="en-GB" noProof="0" dirty="0"/>
          </a:p>
        </p:txBody>
      </p:sp>
      <p:cxnSp>
        <p:nvCxnSpPr>
          <p:cNvPr id="7" name="Gerade Verbindung 6"/>
          <p:cNvCxnSpPr/>
          <p:nvPr userDrawn="1"/>
        </p:nvCxnSpPr>
        <p:spPr>
          <a:xfrm>
            <a:off x="0" y="971453"/>
            <a:ext cx="12192000" cy="0"/>
          </a:xfrm>
          <a:prstGeom prst="line">
            <a:avLst/>
          </a:prstGeom>
          <a:ln w="12700">
            <a:solidFill>
              <a:srgbClr val="0033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8" name="Grafik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5924" y="6485509"/>
            <a:ext cx="840360" cy="2540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60692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36pt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/>
        <p:txBody>
          <a:bodyPr/>
          <a:lstStyle/>
          <a:p>
            <a:pPr lvl="0"/>
            <a:r>
              <a:rPr lang="en-GB" noProof="0" dirty="0"/>
              <a:t>Click to add text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06B1D7-8DFB-48E5-8A71-8B82B486BD96}" type="datetime1">
              <a:rPr lang="en-GB" noProof="0" smtClean="0"/>
              <a:t>14/12/2021</a:t>
            </a:fld>
            <a:endParaRPr lang="en-GB" noProof="0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CMD T.C.M. / MCM</a:t>
            </a:r>
            <a:endParaRPr lang="en-GB" noProof="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3B55C4-4F5A-416B-997D-6CE47EB0A945}" type="slidenum">
              <a:rPr lang="en-GB" noProof="0" smtClean="0"/>
              <a:t>‹#›</a:t>
            </a:fld>
            <a:endParaRPr lang="en-GB" noProof="0" dirty="0"/>
          </a:p>
        </p:txBody>
      </p:sp>
      <p:cxnSp>
        <p:nvCxnSpPr>
          <p:cNvPr id="7" name="Gerade Verbindung 6"/>
          <p:cNvCxnSpPr/>
          <p:nvPr userDrawn="1"/>
        </p:nvCxnSpPr>
        <p:spPr>
          <a:xfrm>
            <a:off x="0" y="971453"/>
            <a:ext cx="12192000" cy="0"/>
          </a:xfrm>
          <a:prstGeom prst="line">
            <a:avLst/>
          </a:prstGeom>
          <a:ln w="12700">
            <a:solidFill>
              <a:srgbClr val="0033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itel 7"/>
          <p:cNvSpPr>
            <a:spLocks noGrp="1"/>
          </p:cNvSpPr>
          <p:nvPr>
            <p:ph type="title" hasCustomPrompt="1"/>
          </p:nvPr>
        </p:nvSpPr>
        <p:spPr>
          <a:xfrm>
            <a:off x="490100" y="187200"/>
            <a:ext cx="11211800" cy="553998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 noProof="0"/>
              <a:t>Click to add headline</a:t>
            </a:r>
          </a:p>
        </p:txBody>
      </p:sp>
      <p:pic>
        <p:nvPicPr>
          <p:cNvPr id="9" name="Grafik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5924" y="6485509"/>
            <a:ext cx="840360" cy="2540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90046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24pt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/>
        <p:txBody>
          <a:bodyPr/>
          <a:lstStyle/>
          <a:p>
            <a:pPr lvl="0"/>
            <a:r>
              <a:rPr lang="en-GB" noProof="0" dirty="0"/>
              <a:t>Click to add text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215C33A-E85C-4A90-918B-BF255E1F079C}" type="datetime1">
              <a:rPr lang="en-GB" noProof="0" smtClean="0"/>
              <a:t>14/12/2021</a:t>
            </a:fld>
            <a:endParaRPr lang="en-GB" noProof="0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CMD T.C.M. / MCM</a:t>
            </a:r>
            <a:endParaRPr lang="en-GB" noProof="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3B55C4-4F5A-416B-997D-6CE47EB0A945}" type="slidenum">
              <a:rPr lang="en-GB" noProof="0" smtClean="0"/>
              <a:t>‹#›</a:t>
            </a:fld>
            <a:endParaRPr lang="en-GB" noProof="0" dirty="0"/>
          </a:p>
        </p:txBody>
      </p:sp>
      <p:cxnSp>
        <p:nvCxnSpPr>
          <p:cNvPr id="7" name="Gerade Verbindung 6"/>
          <p:cNvCxnSpPr/>
          <p:nvPr userDrawn="1"/>
        </p:nvCxnSpPr>
        <p:spPr>
          <a:xfrm>
            <a:off x="0" y="971453"/>
            <a:ext cx="12192000" cy="0"/>
          </a:xfrm>
          <a:prstGeom prst="line">
            <a:avLst/>
          </a:prstGeom>
          <a:ln w="12700">
            <a:solidFill>
              <a:srgbClr val="0033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itel 7"/>
          <p:cNvSpPr>
            <a:spLocks noGrp="1"/>
          </p:cNvSpPr>
          <p:nvPr>
            <p:ph type="title" hasCustomPrompt="1"/>
          </p:nvPr>
        </p:nvSpPr>
        <p:spPr>
          <a:xfrm>
            <a:off x="490100" y="387429"/>
            <a:ext cx="11211800" cy="369332"/>
          </a:xfrm>
        </p:spPr>
        <p:txBody>
          <a:bodyPr/>
          <a:lstStyle/>
          <a:p>
            <a:r>
              <a:rPr lang="en-GB" noProof="0" dirty="0"/>
              <a:t>Click to add headline</a:t>
            </a:r>
          </a:p>
        </p:txBody>
      </p:sp>
      <p:pic>
        <p:nvPicPr>
          <p:cNvPr id="9" name="Grafik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5924" y="6485509"/>
            <a:ext cx="840360" cy="2540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6025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page_0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A81EBC20-D1C9-4C67-8ADC-876C0AA17A37}" type="datetime1">
              <a:rPr lang="en-GB" noProof="0" smtClean="0"/>
              <a:t>14/12/2021</a:t>
            </a:fld>
            <a:endParaRPr lang="en-GB" noProof="0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GB" noProof="0"/>
              <a:t>CMD T.C.M. / MCM</a:t>
            </a:r>
            <a:endParaRPr lang="en-GB" noProof="0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143B55C4-4F5A-416B-997D-6CE47EB0A945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cxnSp>
        <p:nvCxnSpPr>
          <p:cNvPr id="8" name="Gerade Verbindung 7"/>
          <p:cNvCxnSpPr/>
          <p:nvPr userDrawn="1"/>
        </p:nvCxnSpPr>
        <p:spPr>
          <a:xfrm>
            <a:off x="0" y="971453"/>
            <a:ext cx="12192000" cy="0"/>
          </a:xfrm>
          <a:prstGeom prst="line">
            <a:avLst/>
          </a:prstGeom>
          <a:ln w="12700">
            <a:solidFill>
              <a:srgbClr val="0033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Titel 7"/>
          <p:cNvSpPr>
            <a:spLocks noGrp="1"/>
          </p:cNvSpPr>
          <p:nvPr>
            <p:ph type="title" hasCustomPrompt="1"/>
          </p:nvPr>
        </p:nvSpPr>
        <p:spPr>
          <a:xfrm>
            <a:off x="490100" y="387429"/>
            <a:ext cx="11211800" cy="369332"/>
          </a:xfrm>
        </p:spPr>
        <p:txBody>
          <a:bodyPr/>
          <a:lstStyle/>
          <a:p>
            <a:r>
              <a:rPr lang="en-GB" noProof="0" dirty="0"/>
              <a:t>Click to add headline</a:t>
            </a:r>
          </a:p>
        </p:txBody>
      </p:sp>
      <p:pic>
        <p:nvPicPr>
          <p:cNvPr id="10" name="Grafik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5924" y="6485509"/>
            <a:ext cx="840360" cy="254013"/>
          </a:xfrm>
          <a:prstGeom prst="rect">
            <a:avLst/>
          </a:prstGeom>
        </p:spPr>
      </p:pic>
      <p:sp>
        <p:nvSpPr>
          <p:cNvPr id="11" name="Inhaltsplatzhalter 6"/>
          <p:cNvSpPr>
            <a:spLocks noGrp="1"/>
          </p:cNvSpPr>
          <p:nvPr>
            <p:ph sz="quarter" idx="15" hasCustomPrompt="1"/>
          </p:nvPr>
        </p:nvSpPr>
        <p:spPr>
          <a:xfrm>
            <a:off x="2361600" y="1598400"/>
            <a:ext cx="7488000" cy="4526400"/>
          </a:xfrm>
        </p:spPr>
        <p:txBody>
          <a:bodyPr/>
          <a:lstStyle>
            <a:lvl1pPr marL="0" indent="0">
              <a:spcBef>
                <a:spcPts val="600"/>
              </a:spcBef>
              <a:buNone/>
              <a:defRPr>
                <a:latin typeface="+mn-lt"/>
              </a:defRPr>
            </a:lvl1pPr>
            <a:lvl2pPr marL="266700" indent="0">
              <a:buNone/>
              <a:defRPr>
                <a:latin typeface="+mn-lt"/>
              </a:defRPr>
            </a:lvl2pPr>
            <a:lvl3pPr marL="450850" indent="0">
              <a:buNone/>
              <a:defRPr>
                <a:latin typeface="+mn-lt"/>
              </a:defRPr>
            </a:lvl3pPr>
            <a:lvl4pPr marL="628650" indent="0">
              <a:buNone/>
              <a:defRPr>
                <a:latin typeface="+mn-lt"/>
              </a:defRPr>
            </a:lvl4pPr>
            <a:lvl5pPr marL="806450" indent="0">
              <a:buNone/>
              <a:defRPr>
                <a:latin typeface="+mn-lt"/>
              </a:defRPr>
            </a:lvl5pPr>
          </a:lstStyle>
          <a:p>
            <a:pPr lvl="0"/>
            <a:r>
              <a:rPr lang="en-GB" noProof="0" dirty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19313610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gram slide_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490102" y="1600202"/>
            <a:ext cx="3912567" cy="3710092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GB" noProof="0" dirty="0"/>
              <a:t>Click to add text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DB5789BC-3D16-4130-A1A8-56D5C20415AA}" type="datetime1">
              <a:rPr lang="en-GB" noProof="0" smtClean="0"/>
              <a:t>14/12/2021</a:t>
            </a:fld>
            <a:endParaRPr lang="en-GB" noProof="0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GB" noProof="0"/>
              <a:t>CMD T.C.M. / MCM</a:t>
            </a:r>
            <a:endParaRPr lang="en-GB" noProof="0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143B55C4-4F5A-416B-997D-6CE47EB0A945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cxnSp>
        <p:nvCxnSpPr>
          <p:cNvPr id="8" name="Gerade Verbindung 7"/>
          <p:cNvCxnSpPr/>
          <p:nvPr userDrawn="1"/>
        </p:nvCxnSpPr>
        <p:spPr>
          <a:xfrm>
            <a:off x="0" y="971453"/>
            <a:ext cx="12192000" cy="0"/>
          </a:xfrm>
          <a:prstGeom prst="line">
            <a:avLst/>
          </a:prstGeom>
          <a:ln w="12700">
            <a:solidFill>
              <a:srgbClr val="0033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Titel 7"/>
          <p:cNvSpPr>
            <a:spLocks noGrp="1"/>
          </p:cNvSpPr>
          <p:nvPr>
            <p:ph type="title" hasCustomPrompt="1"/>
          </p:nvPr>
        </p:nvSpPr>
        <p:spPr>
          <a:xfrm>
            <a:off x="490100" y="387429"/>
            <a:ext cx="11211800" cy="369332"/>
          </a:xfrm>
        </p:spPr>
        <p:txBody>
          <a:bodyPr/>
          <a:lstStyle/>
          <a:p>
            <a:r>
              <a:rPr lang="en-GB" noProof="0" dirty="0"/>
              <a:t>Click to add headline</a:t>
            </a:r>
          </a:p>
        </p:txBody>
      </p:sp>
      <p:pic>
        <p:nvPicPr>
          <p:cNvPr id="10" name="Grafik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5924" y="6485509"/>
            <a:ext cx="840360" cy="2540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98700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CA987C-03FB-4573-A033-FD4BFC7C9F95}" type="datetime1">
              <a:rPr lang="en-GB" noProof="0" smtClean="0"/>
              <a:t>14/12/2021</a:t>
            </a:fld>
            <a:endParaRPr lang="en-GB" noProof="0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CMD T.C.M. / MCM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3B55C4-4F5A-416B-997D-6CE47EB0A945}" type="slidenum">
              <a:rPr lang="en-GB" noProof="0" smtClean="0"/>
              <a:t>‹#›</a:t>
            </a:fld>
            <a:endParaRPr lang="en-GB" noProof="0" dirty="0"/>
          </a:p>
        </p:txBody>
      </p:sp>
      <p:pic>
        <p:nvPicPr>
          <p:cNvPr id="5" name="Grafik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5924" y="6485509"/>
            <a:ext cx="840360" cy="2540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32177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ircle segment_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 userDrawn="1"/>
        </p:nvSpPr>
        <p:spPr>
          <a:xfrm>
            <a:off x="0" y="2928494"/>
            <a:ext cx="12192000" cy="3929507"/>
          </a:xfrm>
          <a:prstGeom prst="rect">
            <a:avLst/>
          </a:prstGeom>
          <a:gradFill>
            <a:gsLst>
              <a:gs pos="0">
                <a:srgbClr val="6699CC">
                  <a:alpha val="40000"/>
                </a:srgbClr>
              </a:gs>
              <a:gs pos="100000">
                <a:srgbClr val="FFFFFF"/>
              </a:gs>
            </a:gsLst>
            <a:lin ang="162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sz="1400" noProof="0" dirty="0">
              <a:solidFill>
                <a:schemeClr val="tx1"/>
              </a:solidFill>
              <a:latin typeface="BISansOpti"/>
            </a:endParaRPr>
          </a:p>
        </p:txBody>
      </p:sp>
      <p:cxnSp>
        <p:nvCxnSpPr>
          <p:cNvPr id="5" name="Gerade Verbindung 4"/>
          <p:cNvCxnSpPr/>
          <p:nvPr userDrawn="1"/>
        </p:nvCxnSpPr>
        <p:spPr>
          <a:xfrm>
            <a:off x="0" y="971453"/>
            <a:ext cx="12192000" cy="0"/>
          </a:xfrm>
          <a:prstGeom prst="line">
            <a:avLst/>
          </a:prstGeom>
          <a:ln w="12700">
            <a:solidFill>
              <a:srgbClr val="0033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D3BBB8-8C8A-412F-9CCD-6F0AEE062B08}" type="datetime1">
              <a:rPr lang="en-GB" smtClean="0"/>
              <a:t>14/12/2021</a:t>
            </a:fld>
            <a:endParaRPr lang="en-GB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CMD T.C.M. / MCM</a:t>
            </a:r>
            <a:endParaRPr lang="en-GB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3B55C4-4F5A-416B-997D-6CE47EB0A94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" name="Rechteck 12"/>
          <p:cNvSpPr/>
          <p:nvPr userDrawn="1"/>
        </p:nvSpPr>
        <p:spPr>
          <a:xfrm>
            <a:off x="5" y="980018"/>
            <a:ext cx="4897308" cy="5281083"/>
          </a:xfrm>
          <a:custGeom>
            <a:avLst/>
            <a:gdLst/>
            <a:ahLst/>
            <a:cxnLst/>
            <a:rect l="l" t="t" r="r" b="b"/>
            <a:pathLst>
              <a:path w="3672981" h="3960812">
                <a:moveTo>
                  <a:pt x="0" y="0"/>
                </a:moveTo>
                <a:lnTo>
                  <a:pt x="3361658" y="0"/>
                </a:lnTo>
                <a:lnTo>
                  <a:pt x="3412473" y="127738"/>
                </a:lnTo>
                <a:cubicBezTo>
                  <a:pt x="3581102" y="597230"/>
                  <a:pt x="3672981" y="1103310"/>
                  <a:pt x="3672981" y="1630850"/>
                </a:cubicBezTo>
                <a:cubicBezTo>
                  <a:pt x="3672981" y="2378998"/>
                  <a:pt x="3488190" y="3083985"/>
                  <a:pt x="3161761" y="3702659"/>
                </a:cubicBezTo>
                <a:lnTo>
                  <a:pt x="3012298" y="3960812"/>
                </a:lnTo>
                <a:lnTo>
                  <a:pt x="0" y="3960812"/>
                </a:lnTo>
                <a:close/>
              </a:path>
            </a:pathLst>
          </a:custGeom>
          <a:solidFill>
            <a:srgbClr val="1F497D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sz="1400" dirty="0" err="1">
              <a:solidFill>
                <a:schemeClr val="tx1"/>
              </a:solidFill>
              <a:latin typeface="BISansOpti"/>
            </a:endParaRPr>
          </a:p>
        </p:txBody>
      </p:sp>
      <p:sp>
        <p:nvSpPr>
          <p:cNvPr id="11" name="Bildplatzhalter 20"/>
          <p:cNvSpPr>
            <a:spLocks noGrp="1"/>
          </p:cNvSpPr>
          <p:nvPr>
            <p:ph type="pic" sz="quarter" idx="13"/>
          </p:nvPr>
        </p:nvSpPr>
        <p:spPr>
          <a:xfrm>
            <a:off x="-1" y="974967"/>
            <a:ext cx="4772191" cy="5284233"/>
          </a:xfrm>
          <a:custGeom>
            <a:avLst/>
            <a:gdLst>
              <a:gd name="connsiteX0" fmla="*/ 0 w 3582000"/>
              <a:gd name="connsiteY0" fmla="*/ 0 h 3960000"/>
              <a:gd name="connsiteX1" fmla="*/ 1791000 w 3582000"/>
              <a:gd name="connsiteY1" fmla="*/ 0 h 3960000"/>
              <a:gd name="connsiteX2" fmla="*/ 3582000 w 3582000"/>
              <a:gd name="connsiteY2" fmla="*/ 1980000 h 3960000"/>
              <a:gd name="connsiteX3" fmla="*/ 1791000 w 3582000"/>
              <a:gd name="connsiteY3" fmla="*/ 3960000 h 3960000"/>
              <a:gd name="connsiteX4" fmla="*/ 0 w 3582000"/>
              <a:gd name="connsiteY4" fmla="*/ 3960000 h 3960000"/>
              <a:gd name="connsiteX5" fmla="*/ 0 w 3582000"/>
              <a:gd name="connsiteY5" fmla="*/ 0 h 3960000"/>
              <a:gd name="connsiteX0" fmla="*/ 0 w 3669107"/>
              <a:gd name="connsiteY0" fmla="*/ 0 h 3960000"/>
              <a:gd name="connsiteX1" fmla="*/ 1791000 w 3669107"/>
              <a:gd name="connsiteY1" fmla="*/ 0 h 3960000"/>
              <a:gd name="connsiteX2" fmla="*/ 3225219 w 3669107"/>
              <a:gd name="connsiteY2" fmla="*/ 807894 h 3960000"/>
              <a:gd name="connsiteX3" fmla="*/ 3582000 w 3669107"/>
              <a:gd name="connsiteY3" fmla="*/ 1980000 h 3960000"/>
              <a:gd name="connsiteX4" fmla="*/ 1791000 w 3669107"/>
              <a:gd name="connsiteY4" fmla="*/ 3960000 h 3960000"/>
              <a:gd name="connsiteX5" fmla="*/ 0 w 3669107"/>
              <a:gd name="connsiteY5" fmla="*/ 3960000 h 3960000"/>
              <a:gd name="connsiteX6" fmla="*/ 0 w 3669107"/>
              <a:gd name="connsiteY6" fmla="*/ 0 h 3960000"/>
              <a:gd name="connsiteX0" fmla="*/ 0 w 3597300"/>
              <a:gd name="connsiteY0" fmla="*/ 0 h 3960000"/>
              <a:gd name="connsiteX1" fmla="*/ 1791000 w 3597300"/>
              <a:gd name="connsiteY1" fmla="*/ 0 h 3960000"/>
              <a:gd name="connsiteX2" fmla="*/ 3225219 w 3597300"/>
              <a:gd name="connsiteY2" fmla="*/ 807894 h 3960000"/>
              <a:gd name="connsiteX3" fmla="*/ 3582000 w 3597300"/>
              <a:gd name="connsiteY3" fmla="*/ 1980000 h 3960000"/>
              <a:gd name="connsiteX4" fmla="*/ 2862382 w 3597300"/>
              <a:gd name="connsiteY4" fmla="*/ 3307821 h 3960000"/>
              <a:gd name="connsiteX5" fmla="*/ 1791000 w 3597300"/>
              <a:gd name="connsiteY5" fmla="*/ 3960000 h 3960000"/>
              <a:gd name="connsiteX6" fmla="*/ 0 w 3597300"/>
              <a:gd name="connsiteY6" fmla="*/ 3960000 h 3960000"/>
              <a:gd name="connsiteX7" fmla="*/ 0 w 3597300"/>
              <a:gd name="connsiteY7" fmla="*/ 0 h 3960000"/>
              <a:gd name="connsiteX0" fmla="*/ 0 w 3597300"/>
              <a:gd name="connsiteY0" fmla="*/ 0 h 3960000"/>
              <a:gd name="connsiteX1" fmla="*/ 3261025 w 3597300"/>
              <a:gd name="connsiteY1" fmla="*/ 3175 h 3960000"/>
              <a:gd name="connsiteX2" fmla="*/ 3225219 w 3597300"/>
              <a:gd name="connsiteY2" fmla="*/ 807894 h 3960000"/>
              <a:gd name="connsiteX3" fmla="*/ 3582000 w 3597300"/>
              <a:gd name="connsiteY3" fmla="*/ 1980000 h 3960000"/>
              <a:gd name="connsiteX4" fmla="*/ 2862382 w 3597300"/>
              <a:gd name="connsiteY4" fmla="*/ 3307821 h 3960000"/>
              <a:gd name="connsiteX5" fmla="*/ 1791000 w 3597300"/>
              <a:gd name="connsiteY5" fmla="*/ 3960000 h 3960000"/>
              <a:gd name="connsiteX6" fmla="*/ 0 w 3597300"/>
              <a:gd name="connsiteY6" fmla="*/ 3960000 h 3960000"/>
              <a:gd name="connsiteX7" fmla="*/ 0 w 3597300"/>
              <a:gd name="connsiteY7" fmla="*/ 0 h 3960000"/>
              <a:gd name="connsiteX0" fmla="*/ 0 w 3597300"/>
              <a:gd name="connsiteY0" fmla="*/ 0 h 3960000"/>
              <a:gd name="connsiteX1" fmla="*/ 3019725 w 3597300"/>
              <a:gd name="connsiteY1" fmla="*/ 282575 h 3960000"/>
              <a:gd name="connsiteX2" fmla="*/ 3225219 w 3597300"/>
              <a:gd name="connsiteY2" fmla="*/ 807894 h 3960000"/>
              <a:gd name="connsiteX3" fmla="*/ 3582000 w 3597300"/>
              <a:gd name="connsiteY3" fmla="*/ 1980000 h 3960000"/>
              <a:gd name="connsiteX4" fmla="*/ 2862382 w 3597300"/>
              <a:gd name="connsiteY4" fmla="*/ 3307821 h 3960000"/>
              <a:gd name="connsiteX5" fmla="*/ 1791000 w 3597300"/>
              <a:gd name="connsiteY5" fmla="*/ 3960000 h 3960000"/>
              <a:gd name="connsiteX6" fmla="*/ 0 w 3597300"/>
              <a:gd name="connsiteY6" fmla="*/ 3960000 h 3960000"/>
              <a:gd name="connsiteX7" fmla="*/ 0 w 3597300"/>
              <a:gd name="connsiteY7" fmla="*/ 0 h 3960000"/>
              <a:gd name="connsiteX0" fmla="*/ 0 w 3597300"/>
              <a:gd name="connsiteY0" fmla="*/ 3175 h 3963175"/>
              <a:gd name="connsiteX1" fmla="*/ 3264200 w 3597300"/>
              <a:gd name="connsiteY1" fmla="*/ 0 h 3963175"/>
              <a:gd name="connsiteX2" fmla="*/ 3225219 w 3597300"/>
              <a:gd name="connsiteY2" fmla="*/ 811069 h 3963175"/>
              <a:gd name="connsiteX3" fmla="*/ 3582000 w 3597300"/>
              <a:gd name="connsiteY3" fmla="*/ 1983175 h 3963175"/>
              <a:gd name="connsiteX4" fmla="*/ 2862382 w 3597300"/>
              <a:gd name="connsiteY4" fmla="*/ 3310996 h 3963175"/>
              <a:gd name="connsiteX5" fmla="*/ 1791000 w 3597300"/>
              <a:gd name="connsiteY5" fmla="*/ 3963175 h 3963175"/>
              <a:gd name="connsiteX6" fmla="*/ 0 w 3597300"/>
              <a:gd name="connsiteY6" fmla="*/ 3963175 h 3963175"/>
              <a:gd name="connsiteX7" fmla="*/ 0 w 3597300"/>
              <a:gd name="connsiteY7" fmla="*/ 3175 h 3963175"/>
              <a:gd name="connsiteX0" fmla="*/ 0 w 3597300"/>
              <a:gd name="connsiteY0" fmla="*/ 3175 h 3963175"/>
              <a:gd name="connsiteX1" fmla="*/ 3264200 w 3597300"/>
              <a:gd name="connsiteY1" fmla="*/ 0 h 3963175"/>
              <a:gd name="connsiteX2" fmla="*/ 3225219 w 3597300"/>
              <a:gd name="connsiteY2" fmla="*/ 811069 h 3963175"/>
              <a:gd name="connsiteX3" fmla="*/ 3582000 w 3597300"/>
              <a:gd name="connsiteY3" fmla="*/ 1983175 h 3963175"/>
              <a:gd name="connsiteX4" fmla="*/ 2862382 w 3597300"/>
              <a:gd name="connsiteY4" fmla="*/ 3310996 h 3963175"/>
              <a:gd name="connsiteX5" fmla="*/ 1791000 w 3597300"/>
              <a:gd name="connsiteY5" fmla="*/ 3963175 h 3963175"/>
              <a:gd name="connsiteX6" fmla="*/ 0 w 3597300"/>
              <a:gd name="connsiteY6" fmla="*/ 3963175 h 3963175"/>
              <a:gd name="connsiteX7" fmla="*/ 0 w 3597300"/>
              <a:gd name="connsiteY7" fmla="*/ 3175 h 3963175"/>
              <a:gd name="connsiteX0" fmla="*/ 0 w 3616616"/>
              <a:gd name="connsiteY0" fmla="*/ 21630 h 3981630"/>
              <a:gd name="connsiteX1" fmla="*/ 3264200 w 3616616"/>
              <a:gd name="connsiteY1" fmla="*/ 18455 h 3981630"/>
              <a:gd name="connsiteX2" fmla="*/ 3323644 w 3616616"/>
              <a:gd name="connsiteY2" fmla="*/ 184999 h 3981630"/>
              <a:gd name="connsiteX3" fmla="*/ 3582000 w 3616616"/>
              <a:gd name="connsiteY3" fmla="*/ 2001630 h 3981630"/>
              <a:gd name="connsiteX4" fmla="*/ 2862382 w 3616616"/>
              <a:gd name="connsiteY4" fmla="*/ 3329451 h 3981630"/>
              <a:gd name="connsiteX5" fmla="*/ 1791000 w 3616616"/>
              <a:gd name="connsiteY5" fmla="*/ 3981630 h 3981630"/>
              <a:gd name="connsiteX6" fmla="*/ 0 w 3616616"/>
              <a:gd name="connsiteY6" fmla="*/ 3981630 h 3981630"/>
              <a:gd name="connsiteX7" fmla="*/ 0 w 3616616"/>
              <a:gd name="connsiteY7" fmla="*/ 21630 h 3981630"/>
              <a:gd name="connsiteX0" fmla="*/ 0 w 3616616"/>
              <a:gd name="connsiteY0" fmla="*/ 3175 h 3963175"/>
              <a:gd name="connsiteX1" fmla="*/ 3264200 w 3616616"/>
              <a:gd name="connsiteY1" fmla="*/ 0 h 3963175"/>
              <a:gd name="connsiteX2" fmla="*/ 3323644 w 3616616"/>
              <a:gd name="connsiteY2" fmla="*/ 166544 h 3963175"/>
              <a:gd name="connsiteX3" fmla="*/ 3582000 w 3616616"/>
              <a:gd name="connsiteY3" fmla="*/ 1983175 h 3963175"/>
              <a:gd name="connsiteX4" fmla="*/ 2862382 w 3616616"/>
              <a:gd name="connsiteY4" fmla="*/ 3310996 h 3963175"/>
              <a:gd name="connsiteX5" fmla="*/ 1791000 w 3616616"/>
              <a:gd name="connsiteY5" fmla="*/ 3963175 h 3963175"/>
              <a:gd name="connsiteX6" fmla="*/ 0 w 3616616"/>
              <a:gd name="connsiteY6" fmla="*/ 3963175 h 3963175"/>
              <a:gd name="connsiteX7" fmla="*/ 0 w 3616616"/>
              <a:gd name="connsiteY7" fmla="*/ 3175 h 3963175"/>
              <a:gd name="connsiteX0" fmla="*/ 0 w 3601265"/>
              <a:gd name="connsiteY0" fmla="*/ 3175 h 3963175"/>
              <a:gd name="connsiteX1" fmla="*/ 3264200 w 3601265"/>
              <a:gd name="connsiteY1" fmla="*/ 0 h 3963175"/>
              <a:gd name="connsiteX2" fmla="*/ 3323644 w 3601265"/>
              <a:gd name="connsiteY2" fmla="*/ 166544 h 3963175"/>
              <a:gd name="connsiteX3" fmla="*/ 3582000 w 3601265"/>
              <a:gd name="connsiteY3" fmla="*/ 1983175 h 3963175"/>
              <a:gd name="connsiteX4" fmla="*/ 2862382 w 3601265"/>
              <a:gd name="connsiteY4" fmla="*/ 3310996 h 3963175"/>
              <a:gd name="connsiteX5" fmla="*/ 1791000 w 3601265"/>
              <a:gd name="connsiteY5" fmla="*/ 3963175 h 3963175"/>
              <a:gd name="connsiteX6" fmla="*/ 0 w 3601265"/>
              <a:gd name="connsiteY6" fmla="*/ 3963175 h 3963175"/>
              <a:gd name="connsiteX7" fmla="*/ 0 w 3601265"/>
              <a:gd name="connsiteY7" fmla="*/ 3175 h 3963175"/>
              <a:gd name="connsiteX0" fmla="*/ 0 w 3364734"/>
              <a:gd name="connsiteY0" fmla="*/ 3175 h 3963175"/>
              <a:gd name="connsiteX1" fmla="*/ 3264200 w 3364734"/>
              <a:gd name="connsiteY1" fmla="*/ 0 h 3963175"/>
              <a:gd name="connsiteX2" fmla="*/ 3323644 w 3364734"/>
              <a:gd name="connsiteY2" fmla="*/ 166544 h 3963175"/>
              <a:gd name="connsiteX3" fmla="*/ 3016850 w 3364734"/>
              <a:gd name="connsiteY3" fmla="*/ 1614875 h 3963175"/>
              <a:gd name="connsiteX4" fmla="*/ 2862382 w 3364734"/>
              <a:gd name="connsiteY4" fmla="*/ 3310996 h 3963175"/>
              <a:gd name="connsiteX5" fmla="*/ 1791000 w 3364734"/>
              <a:gd name="connsiteY5" fmla="*/ 3963175 h 3963175"/>
              <a:gd name="connsiteX6" fmla="*/ 0 w 3364734"/>
              <a:gd name="connsiteY6" fmla="*/ 3963175 h 3963175"/>
              <a:gd name="connsiteX7" fmla="*/ 0 w 3364734"/>
              <a:gd name="connsiteY7" fmla="*/ 3175 h 3963175"/>
              <a:gd name="connsiteX0" fmla="*/ 0 w 3598344"/>
              <a:gd name="connsiteY0" fmla="*/ 3175 h 3963175"/>
              <a:gd name="connsiteX1" fmla="*/ 3264200 w 3598344"/>
              <a:gd name="connsiteY1" fmla="*/ 0 h 3963175"/>
              <a:gd name="connsiteX2" fmla="*/ 3323644 w 3598344"/>
              <a:gd name="connsiteY2" fmla="*/ 166544 h 3963175"/>
              <a:gd name="connsiteX3" fmla="*/ 3578825 w 3598344"/>
              <a:gd name="connsiteY3" fmla="*/ 1640275 h 3963175"/>
              <a:gd name="connsiteX4" fmla="*/ 2862382 w 3598344"/>
              <a:gd name="connsiteY4" fmla="*/ 3310996 h 3963175"/>
              <a:gd name="connsiteX5" fmla="*/ 1791000 w 3598344"/>
              <a:gd name="connsiteY5" fmla="*/ 3963175 h 3963175"/>
              <a:gd name="connsiteX6" fmla="*/ 0 w 3598344"/>
              <a:gd name="connsiteY6" fmla="*/ 3963175 h 3963175"/>
              <a:gd name="connsiteX7" fmla="*/ 0 w 3598344"/>
              <a:gd name="connsiteY7" fmla="*/ 3175 h 3963175"/>
              <a:gd name="connsiteX0" fmla="*/ 0 w 3612056"/>
              <a:gd name="connsiteY0" fmla="*/ 3175 h 3963175"/>
              <a:gd name="connsiteX1" fmla="*/ 3264200 w 3612056"/>
              <a:gd name="connsiteY1" fmla="*/ 0 h 3963175"/>
              <a:gd name="connsiteX2" fmla="*/ 3323644 w 3612056"/>
              <a:gd name="connsiteY2" fmla="*/ 166544 h 3963175"/>
              <a:gd name="connsiteX3" fmla="*/ 3578825 w 3612056"/>
              <a:gd name="connsiteY3" fmla="*/ 1640275 h 3963175"/>
              <a:gd name="connsiteX4" fmla="*/ 2862382 w 3612056"/>
              <a:gd name="connsiteY4" fmla="*/ 3310996 h 3963175"/>
              <a:gd name="connsiteX5" fmla="*/ 1791000 w 3612056"/>
              <a:gd name="connsiteY5" fmla="*/ 3963175 h 3963175"/>
              <a:gd name="connsiteX6" fmla="*/ 0 w 3612056"/>
              <a:gd name="connsiteY6" fmla="*/ 3963175 h 3963175"/>
              <a:gd name="connsiteX7" fmla="*/ 0 w 3612056"/>
              <a:gd name="connsiteY7" fmla="*/ 3175 h 3963175"/>
              <a:gd name="connsiteX0" fmla="*/ 0 w 3635528"/>
              <a:gd name="connsiteY0" fmla="*/ 3175 h 3963175"/>
              <a:gd name="connsiteX1" fmla="*/ 3264200 w 3635528"/>
              <a:gd name="connsiteY1" fmla="*/ 0 h 3963175"/>
              <a:gd name="connsiteX2" fmla="*/ 3323644 w 3635528"/>
              <a:gd name="connsiteY2" fmla="*/ 166544 h 3963175"/>
              <a:gd name="connsiteX3" fmla="*/ 3578825 w 3635528"/>
              <a:gd name="connsiteY3" fmla="*/ 1640275 h 3963175"/>
              <a:gd name="connsiteX4" fmla="*/ 2862382 w 3635528"/>
              <a:gd name="connsiteY4" fmla="*/ 3310996 h 3963175"/>
              <a:gd name="connsiteX5" fmla="*/ 1791000 w 3635528"/>
              <a:gd name="connsiteY5" fmla="*/ 3963175 h 3963175"/>
              <a:gd name="connsiteX6" fmla="*/ 0 w 3635528"/>
              <a:gd name="connsiteY6" fmla="*/ 3963175 h 3963175"/>
              <a:gd name="connsiteX7" fmla="*/ 0 w 3635528"/>
              <a:gd name="connsiteY7" fmla="*/ 3175 h 3963175"/>
              <a:gd name="connsiteX0" fmla="*/ 0 w 3578828"/>
              <a:gd name="connsiteY0" fmla="*/ 3175 h 3963175"/>
              <a:gd name="connsiteX1" fmla="*/ 3264200 w 3578828"/>
              <a:gd name="connsiteY1" fmla="*/ 0 h 3963175"/>
              <a:gd name="connsiteX2" fmla="*/ 3323644 w 3578828"/>
              <a:gd name="connsiteY2" fmla="*/ 166544 h 3963175"/>
              <a:gd name="connsiteX3" fmla="*/ 3578825 w 3578828"/>
              <a:gd name="connsiteY3" fmla="*/ 1640275 h 3963175"/>
              <a:gd name="connsiteX4" fmla="*/ 2862382 w 3578828"/>
              <a:gd name="connsiteY4" fmla="*/ 3310996 h 3963175"/>
              <a:gd name="connsiteX5" fmla="*/ 1791000 w 3578828"/>
              <a:gd name="connsiteY5" fmla="*/ 3963175 h 3963175"/>
              <a:gd name="connsiteX6" fmla="*/ 0 w 3578828"/>
              <a:gd name="connsiteY6" fmla="*/ 3963175 h 3963175"/>
              <a:gd name="connsiteX7" fmla="*/ 0 w 3578828"/>
              <a:gd name="connsiteY7" fmla="*/ 3175 h 3963175"/>
              <a:gd name="connsiteX0" fmla="*/ 0 w 3578942"/>
              <a:gd name="connsiteY0" fmla="*/ 3175 h 3963175"/>
              <a:gd name="connsiteX1" fmla="*/ 3264200 w 3578942"/>
              <a:gd name="connsiteY1" fmla="*/ 0 h 3963175"/>
              <a:gd name="connsiteX2" fmla="*/ 3323644 w 3578942"/>
              <a:gd name="connsiteY2" fmla="*/ 166544 h 3963175"/>
              <a:gd name="connsiteX3" fmla="*/ 3578825 w 3578942"/>
              <a:gd name="connsiteY3" fmla="*/ 1640275 h 3963175"/>
              <a:gd name="connsiteX4" fmla="*/ 2862382 w 3578942"/>
              <a:gd name="connsiteY4" fmla="*/ 3310996 h 3963175"/>
              <a:gd name="connsiteX5" fmla="*/ 1791000 w 3578942"/>
              <a:gd name="connsiteY5" fmla="*/ 3963175 h 3963175"/>
              <a:gd name="connsiteX6" fmla="*/ 0 w 3578942"/>
              <a:gd name="connsiteY6" fmla="*/ 3963175 h 3963175"/>
              <a:gd name="connsiteX7" fmla="*/ 0 w 3578942"/>
              <a:gd name="connsiteY7" fmla="*/ 3175 h 3963175"/>
              <a:gd name="connsiteX0" fmla="*/ 0 w 3578942"/>
              <a:gd name="connsiteY0" fmla="*/ 3175 h 3963175"/>
              <a:gd name="connsiteX1" fmla="*/ 3264200 w 3578942"/>
              <a:gd name="connsiteY1" fmla="*/ 0 h 3963175"/>
              <a:gd name="connsiteX2" fmla="*/ 3323644 w 3578942"/>
              <a:gd name="connsiteY2" fmla="*/ 166544 h 3963175"/>
              <a:gd name="connsiteX3" fmla="*/ 3578825 w 3578942"/>
              <a:gd name="connsiteY3" fmla="*/ 1640275 h 3963175"/>
              <a:gd name="connsiteX4" fmla="*/ 2862382 w 3578942"/>
              <a:gd name="connsiteY4" fmla="*/ 3310996 h 3963175"/>
              <a:gd name="connsiteX5" fmla="*/ 1791000 w 3578942"/>
              <a:gd name="connsiteY5" fmla="*/ 3963175 h 3963175"/>
              <a:gd name="connsiteX6" fmla="*/ 0 w 3578942"/>
              <a:gd name="connsiteY6" fmla="*/ 3963175 h 3963175"/>
              <a:gd name="connsiteX7" fmla="*/ 0 w 3578942"/>
              <a:gd name="connsiteY7" fmla="*/ 3175 h 3963175"/>
              <a:gd name="connsiteX0" fmla="*/ 0 w 3590408"/>
              <a:gd name="connsiteY0" fmla="*/ 3175 h 3974831"/>
              <a:gd name="connsiteX1" fmla="*/ 3264200 w 3590408"/>
              <a:gd name="connsiteY1" fmla="*/ 0 h 3974831"/>
              <a:gd name="connsiteX2" fmla="*/ 3323644 w 3590408"/>
              <a:gd name="connsiteY2" fmla="*/ 166544 h 3974831"/>
              <a:gd name="connsiteX3" fmla="*/ 3578825 w 3590408"/>
              <a:gd name="connsiteY3" fmla="*/ 1640275 h 3974831"/>
              <a:gd name="connsiteX4" fmla="*/ 3002082 w 3590408"/>
              <a:gd name="connsiteY4" fmla="*/ 3809471 h 3974831"/>
              <a:gd name="connsiteX5" fmla="*/ 1791000 w 3590408"/>
              <a:gd name="connsiteY5" fmla="*/ 3963175 h 3974831"/>
              <a:gd name="connsiteX6" fmla="*/ 0 w 3590408"/>
              <a:gd name="connsiteY6" fmla="*/ 3963175 h 3974831"/>
              <a:gd name="connsiteX7" fmla="*/ 0 w 3590408"/>
              <a:gd name="connsiteY7" fmla="*/ 3175 h 3974831"/>
              <a:gd name="connsiteX0" fmla="*/ 0 w 3590408"/>
              <a:gd name="connsiteY0" fmla="*/ 3175 h 3974831"/>
              <a:gd name="connsiteX1" fmla="*/ 3264200 w 3590408"/>
              <a:gd name="connsiteY1" fmla="*/ 0 h 3974831"/>
              <a:gd name="connsiteX2" fmla="*/ 3323644 w 3590408"/>
              <a:gd name="connsiteY2" fmla="*/ 166544 h 3974831"/>
              <a:gd name="connsiteX3" fmla="*/ 3578825 w 3590408"/>
              <a:gd name="connsiteY3" fmla="*/ 1640275 h 3974831"/>
              <a:gd name="connsiteX4" fmla="*/ 3002082 w 3590408"/>
              <a:gd name="connsiteY4" fmla="*/ 3809471 h 3974831"/>
              <a:gd name="connsiteX5" fmla="*/ 1791000 w 3590408"/>
              <a:gd name="connsiteY5" fmla="*/ 3963175 h 3974831"/>
              <a:gd name="connsiteX6" fmla="*/ 0 w 3590408"/>
              <a:gd name="connsiteY6" fmla="*/ 3963175 h 3974831"/>
              <a:gd name="connsiteX7" fmla="*/ 0 w 3590408"/>
              <a:gd name="connsiteY7" fmla="*/ 3175 h 3974831"/>
              <a:gd name="connsiteX0" fmla="*/ 0 w 3590408"/>
              <a:gd name="connsiteY0" fmla="*/ 3175 h 3975950"/>
              <a:gd name="connsiteX1" fmla="*/ 3264200 w 3590408"/>
              <a:gd name="connsiteY1" fmla="*/ 0 h 3975950"/>
              <a:gd name="connsiteX2" fmla="*/ 3323644 w 3590408"/>
              <a:gd name="connsiteY2" fmla="*/ 166544 h 3975950"/>
              <a:gd name="connsiteX3" fmla="*/ 3578825 w 3590408"/>
              <a:gd name="connsiteY3" fmla="*/ 1640275 h 3975950"/>
              <a:gd name="connsiteX4" fmla="*/ 3002082 w 3590408"/>
              <a:gd name="connsiteY4" fmla="*/ 3809471 h 3975950"/>
              <a:gd name="connsiteX5" fmla="*/ 2908600 w 3590408"/>
              <a:gd name="connsiteY5" fmla="*/ 3966350 h 3975950"/>
              <a:gd name="connsiteX6" fmla="*/ 0 w 3590408"/>
              <a:gd name="connsiteY6" fmla="*/ 3963175 h 3975950"/>
              <a:gd name="connsiteX7" fmla="*/ 0 w 3590408"/>
              <a:gd name="connsiteY7" fmla="*/ 3175 h 3975950"/>
              <a:gd name="connsiteX0" fmla="*/ 0 w 3590408"/>
              <a:gd name="connsiteY0" fmla="*/ 3175 h 3966350"/>
              <a:gd name="connsiteX1" fmla="*/ 3264200 w 3590408"/>
              <a:gd name="connsiteY1" fmla="*/ 0 h 3966350"/>
              <a:gd name="connsiteX2" fmla="*/ 3323644 w 3590408"/>
              <a:gd name="connsiteY2" fmla="*/ 166544 h 3966350"/>
              <a:gd name="connsiteX3" fmla="*/ 3578825 w 3590408"/>
              <a:gd name="connsiteY3" fmla="*/ 1640275 h 3966350"/>
              <a:gd name="connsiteX4" fmla="*/ 3002082 w 3590408"/>
              <a:gd name="connsiteY4" fmla="*/ 3809471 h 3966350"/>
              <a:gd name="connsiteX5" fmla="*/ 2908600 w 3590408"/>
              <a:gd name="connsiteY5" fmla="*/ 3966350 h 3966350"/>
              <a:gd name="connsiteX6" fmla="*/ 0 w 3590408"/>
              <a:gd name="connsiteY6" fmla="*/ 3963175 h 3966350"/>
              <a:gd name="connsiteX7" fmla="*/ 0 w 3590408"/>
              <a:gd name="connsiteY7" fmla="*/ 3175 h 3966350"/>
              <a:gd name="connsiteX0" fmla="*/ 0 w 3590408"/>
              <a:gd name="connsiteY0" fmla="*/ 3175 h 3966350"/>
              <a:gd name="connsiteX1" fmla="*/ 3264200 w 3590408"/>
              <a:gd name="connsiteY1" fmla="*/ 0 h 3966350"/>
              <a:gd name="connsiteX2" fmla="*/ 3323644 w 3590408"/>
              <a:gd name="connsiteY2" fmla="*/ 166544 h 3966350"/>
              <a:gd name="connsiteX3" fmla="*/ 3578825 w 3590408"/>
              <a:gd name="connsiteY3" fmla="*/ 1640275 h 3966350"/>
              <a:gd name="connsiteX4" fmla="*/ 3002082 w 3590408"/>
              <a:gd name="connsiteY4" fmla="*/ 3809471 h 3966350"/>
              <a:gd name="connsiteX5" fmla="*/ 2908600 w 3590408"/>
              <a:gd name="connsiteY5" fmla="*/ 3966350 h 3966350"/>
              <a:gd name="connsiteX6" fmla="*/ 0 w 3590408"/>
              <a:gd name="connsiteY6" fmla="*/ 3963175 h 3966350"/>
              <a:gd name="connsiteX7" fmla="*/ 0 w 3590408"/>
              <a:gd name="connsiteY7" fmla="*/ 3175 h 3966350"/>
              <a:gd name="connsiteX0" fmla="*/ 0 w 3590408"/>
              <a:gd name="connsiteY0" fmla="*/ 3175 h 3966350"/>
              <a:gd name="connsiteX1" fmla="*/ 3264200 w 3590408"/>
              <a:gd name="connsiteY1" fmla="*/ 0 h 3966350"/>
              <a:gd name="connsiteX2" fmla="*/ 3323644 w 3590408"/>
              <a:gd name="connsiteY2" fmla="*/ 166544 h 3966350"/>
              <a:gd name="connsiteX3" fmla="*/ 3578825 w 3590408"/>
              <a:gd name="connsiteY3" fmla="*/ 1640275 h 3966350"/>
              <a:gd name="connsiteX4" fmla="*/ 3002082 w 3590408"/>
              <a:gd name="connsiteY4" fmla="*/ 3809471 h 3966350"/>
              <a:gd name="connsiteX5" fmla="*/ 2908600 w 3590408"/>
              <a:gd name="connsiteY5" fmla="*/ 3966350 h 3966350"/>
              <a:gd name="connsiteX6" fmla="*/ 0 w 3590408"/>
              <a:gd name="connsiteY6" fmla="*/ 3963175 h 3966350"/>
              <a:gd name="connsiteX7" fmla="*/ 0 w 3590408"/>
              <a:gd name="connsiteY7" fmla="*/ 3175 h 3966350"/>
              <a:gd name="connsiteX0" fmla="*/ 0 w 3580367"/>
              <a:gd name="connsiteY0" fmla="*/ 3175 h 3966350"/>
              <a:gd name="connsiteX1" fmla="*/ 3264200 w 3580367"/>
              <a:gd name="connsiteY1" fmla="*/ 0 h 3966350"/>
              <a:gd name="connsiteX2" fmla="*/ 3323644 w 3580367"/>
              <a:gd name="connsiteY2" fmla="*/ 166544 h 3966350"/>
              <a:gd name="connsiteX3" fmla="*/ 3578825 w 3580367"/>
              <a:gd name="connsiteY3" fmla="*/ 1640275 h 3966350"/>
              <a:gd name="connsiteX4" fmla="*/ 3002082 w 3580367"/>
              <a:gd name="connsiteY4" fmla="*/ 3809471 h 3966350"/>
              <a:gd name="connsiteX5" fmla="*/ 2908600 w 3580367"/>
              <a:gd name="connsiteY5" fmla="*/ 3966350 h 3966350"/>
              <a:gd name="connsiteX6" fmla="*/ 0 w 3580367"/>
              <a:gd name="connsiteY6" fmla="*/ 3963175 h 3966350"/>
              <a:gd name="connsiteX7" fmla="*/ 0 w 3580367"/>
              <a:gd name="connsiteY7" fmla="*/ 3175 h 3966350"/>
              <a:gd name="connsiteX0" fmla="*/ 0 w 3578976"/>
              <a:gd name="connsiteY0" fmla="*/ 3175 h 3966350"/>
              <a:gd name="connsiteX1" fmla="*/ 3264200 w 3578976"/>
              <a:gd name="connsiteY1" fmla="*/ 0 h 3966350"/>
              <a:gd name="connsiteX2" fmla="*/ 3323644 w 3578976"/>
              <a:gd name="connsiteY2" fmla="*/ 166544 h 3966350"/>
              <a:gd name="connsiteX3" fmla="*/ 3578825 w 3578976"/>
              <a:gd name="connsiteY3" fmla="*/ 1640275 h 3966350"/>
              <a:gd name="connsiteX4" fmla="*/ 3002082 w 3578976"/>
              <a:gd name="connsiteY4" fmla="*/ 3809471 h 3966350"/>
              <a:gd name="connsiteX5" fmla="*/ 2908600 w 3578976"/>
              <a:gd name="connsiteY5" fmla="*/ 3966350 h 3966350"/>
              <a:gd name="connsiteX6" fmla="*/ 0 w 3578976"/>
              <a:gd name="connsiteY6" fmla="*/ 3963175 h 3966350"/>
              <a:gd name="connsiteX7" fmla="*/ 0 w 3578976"/>
              <a:gd name="connsiteY7" fmla="*/ 3175 h 3966350"/>
              <a:gd name="connsiteX0" fmla="*/ 0 w 3579143"/>
              <a:gd name="connsiteY0" fmla="*/ 3175 h 3966350"/>
              <a:gd name="connsiteX1" fmla="*/ 3264200 w 3579143"/>
              <a:gd name="connsiteY1" fmla="*/ 0 h 3966350"/>
              <a:gd name="connsiteX2" fmla="*/ 3323644 w 3579143"/>
              <a:gd name="connsiteY2" fmla="*/ 166544 h 3966350"/>
              <a:gd name="connsiteX3" fmla="*/ 3578825 w 3579143"/>
              <a:gd name="connsiteY3" fmla="*/ 1640275 h 3966350"/>
              <a:gd name="connsiteX4" fmla="*/ 3002082 w 3579143"/>
              <a:gd name="connsiteY4" fmla="*/ 3809471 h 3966350"/>
              <a:gd name="connsiteX5" fmla="*/ 2908600 w 3579143"/>
              <a:gd name="connsiteY5" fmla="*/ 3966350 h 3966350"/>
              <a:gd name="connsiteX6" fmla="*/ 0 w 3579143"/>
              <a:gd name="connsiteY6" fmla="*/ 3963175 h 3966350"/>
              <a:gd name="connsiteX7" fmla="*/ 0 w 3579143"/>
              <a:gd name="connsiteY7" fmla="*/ 3175 h 3966350"/>
              <a:gd name="connsiteX0" fmla="*/ 0 w 3579143"/>
              <a:gd name="connsiteY0" fmla="*/ 3175 h 4131450"/>
              <a:gd name="connsiteX1" fmla="*/ 3264200 w 3579143"/>
              <a:gd name="connsiteY1" fmla="*/ 0 h 4131450"/>
              <a:gd name="connsiteX2" fmla="*/ 3323644 w 3579143"/>
              <a:gd name="connsiteY2" fmla="*/ 166544 h 4131450"/>
              <a:gd name="connsiteX3" fmla="*/ 3578825 w 3579143"/>
              <a:gd name="connsiteY3" fmla="*/ 1640275 h 4131450"/>
              <a:gd name="connsiteX4" fmla="*/ 3002082 w 3579143"/>
              <a:gd name="connsiteY4" fmla="*/ 3809471 h 4131450"/>
              <a:gd name="connsiteX5" fmla="*/ 3159425 w 3579143"/>
              <a:gd name="connsiteY5" fmla="*/ 4131450 h 4131450"/>
              <a:gd name="connsiteX6" fmla="*/ 0 w 3579143"/>
              <a:gd name="connsiteY6" fmla="*/ 3963175 h 4131450"/>
              <a:gd name="connsiteX7" fmla="*/ 0 w 3579143"/>
              <a:gd name="connsiteY7" fmla="*/ 3175 h 4131450"/>
              <a:gd name="connsiteX0" fmla="*/ 0 w 3579143"/>
              <a:gd name="connsiteY0" fmla="*/ 3175 h 3963175"/>
              <a:gd name="connsiteX1" fmla="*/ 3264200 w 3579143"/>
              <a:gd name="connsiteY1" fmla="*/ 0 h 3963175"/>
              <a:gd name="connsiteX2" fmla="*/ 3323644 w 3579143"/>
              <a:gd name="connsiteY2" fmla="*/ 166544 h 3963175"/>
              <a:gd name="connsiteX3" fmla="*/ 3578825 w 3579143"/>
              <a:gd name="connsiteY3" fmla="*/ 1640275 h 3963175"/>
              <a:gd name="connsiteX4" fmla="*/ 3002082 w 3579143"/>
              <a:gd name="connsiteY4" fmla="*/ 3809471 h 3963175"/>
              <a:gd name="connsiteX5" fmla="*/ 2905425 w 3579143"/>
              <a:gd name="connsiteY5" fmla="*/ 3963175 h 3963175"/>
              <a:gd name="connsiteX6" fmla="*/ 0 w 3579143"/>
              <a:gd name="connsiteY6" fmla="*/ 3963175 h 3963175"/>
              <a:gd name="connsiteX7" fmla="*/ 0 w 3579143"/>
              <a:gd name="connsiteY7" fmla="*/ 3175 h 3963175"/>
              <a:gd name="connsiteX0" fmla="*/ 0 w 3579143"/>
              <a:gd name="connsiteY0" fmla="*/ 3175 h 3963175"/>
              <a:gd name="connsiteX1" fmla="*/ 3264200 w 3579143"/>
              <a:gd name="connsiteY1" fmla="*/ 0 h 3963175"/>
              <a:gd name="connsiteX2" fmla="*/ 3323644 w 3579143"/>
              <a:gd name="connsiteY2" fmla="*/ 166544 h 3963175"/>
              <a:gd name="connsiteX3" fmla="*/ 3578825 w 3579143"/>
              <a:gd name="connsiteY3" fmla="*/ 1640275 h 3963175"/>
              <a:gd name="connsiteX4" fmla="*/ 3002082 w 3579143"/>
              <a:gd name="connsiteY4" fmla="*/ 3809471 h 3963175"/>
              <a:gd name="connsiteX5" fmla="*/ 2905425 w 3579143"/>
              <a:gd name="connsiteY5" fmla="*/ 3963175 h 3963175"/>
              <a:gd name="connsiteX6" fmla="*/ 0 w 3579143"/>
              <a:gd name="connsiteY6" fmla="*/ 3963175 h 3963175"/>
              <a:gd name="connsiteX7" fmla="*/ 0 w 3579143"/>
              <a:gd name="connsiteY7" fmla="*/ 3175 h 3963175"/>
              <a:gd name="connsiteX0" fmla="*/ 0 w 3579143"/>
              <a:gd name="connsiteY0" fmla="*/ 3175 h 3963175"/>
              <a:gd name="connsiteX1" fmla="*/ 3264200 w 3579143"/>
              <a:gd name="connsiteY1" fmla="*/ 0 h 3963175"/>
              <a:gd name="connsiteX2" fmla="*/ 3323644 w 3579143"/>
              <a:gd name="connsiteY2" fmla="*/ 166544 h 3963175"/>
              <a:gd name="connsiteX3" fmla="*/ 3578825 w 3579143"/>
              <a:gd name="connsiteY3" fmla="*/ 1640275 h 3963175"/>
              <a:gd name="connsiteX4" fmla="*/ 3002082 w 3579143"/>
              <a:gd name="connsiteY4" fmla="*/ 3809471 h 3963175"/>
              <a:gd name="connsiteX5" fmla="*/ 2905425 w 3579143"/>
              <a:gd name="connsiteY5" fmla="*/ 3963175 h 3963175"/>
              <a:gd name="connsiteX6" fmla="*/ 0 w 3579143"/>
              <a:gd name="connsiteY6" fmla="*/ 3963175 h 3963175"/>
              <a:gd name="connsiteX7" fmla="*/ 0 w 3579143"/>
              <a:gd name="connsiteY7" fmla="*/ 3175 h 39631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579143" h="3963175">
                <a:moveTo>
                  <a:pt x="0" y="3175"/>
                </a:moveTo>
                <a:lnTo>
                  <a:pt x="3264200" y="0"/>
                </a:lnTo>
                <a:cubicBezTo>
                  <a:pt x="3287387" y="61624"/>
                  <a:pt x="3301369" y="106419"/>
                  <a:pt x="3323644" y="166544"/>
                </a:cubicBezTo>
                <a:cubicBezTo>
                  <a:pt x="3491969" y="623544"/>
                  <a:pt x="3568919" y="877546"/>
                  <a:pt x="3578825" y="1640275"/>
                </a:cubicBezTo>
                <a:cubicBezTo>
                  <a:pt x="3588731" y="2403004"/>
                  <a:pt x="3367257" y="3165146"/>
                  <a:pt x="3002082" y="3809471"/>
                </a:cubicBezTo>
                <a:cubicBezTo>
                  <a:pt x="2973457" y="3863246"/>
                  <a:pt x="3011014" y="3800503"/>
                  <a:pt x="2905425" y="3963175"/>
                </a:cubicBezTo>
                <a:lnTo>
                  <a:pt x="0" y="3963175"/>
                </a:lnTo>
                <a:lnTo>
                  <a:pt x="0" y="3175"/>
                </a:lnTo>
                <a:close/>
              </a:path>
            </a:pathLst>
          </a:custGeom>
          <a:noFill/>
          <a:ln>
            <a:noFill/>
          </a:ln>
        </p:spPr>
        <p:txBody>
          <a:bodyPr lIns="720000" tIns="720000" rIns="720000" bIns="720000">
            <a:normAutofit/>
          </a:bodyPr>
          <a:lstStyle>
            <a:lvl1pPr marL="0" indent="0" algn="ctr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  <p:sp>
        <p:nvSpPr>
          <p:cNvPr id="13" name="Titel 7"/>
          <p:cNvSpPr>
            <a:spLocks noGrp="1"/>
          </p:cNvSpPr>
          <p:nvPr>
            <p:ph type="title" hasCustomPrompt="1"/>
          </p:nvPr>
        </p:nvSpPr>
        <p:spPr>
          <a:xfrm>
            <a:off x="490100" y="387429"/>
            <a:ext cx="11211800" cy="369332"/>
          </a:xfrm>
        </p:spPr>
        <p:txBody>
          <a:bodyPr/>
          <a:lstStyle/>
          <a:p>
            <a:r>
              <a:rPr lang="en-GB" noProof="0" dirty="0"/>
              <a:t>Click to add headline</a:t>
            </a:r>
          </a:p>
        </p:txBody>
      </p:sp>
      <p:sp>
        <p:nvSpPr>
          <p:cNvPr id="14" name="Inhaltsplatzhalter 11"/>
          <p:cNvSpPr>
            <a:spLocks noGrp="1"/>
          </p:cNvSpPr>
          <p:nvPr>
            <p:ph sz="quarter" idx="14" hasCustomPrompt="1"/>
          </p:nvPr>
        </p:nvSpPr>
        <p:spPr>
          <a:xfrm>
            <a:off x="5131199" y="1598400"/>
            <a:ext cx="6570701" cy="4526400"/>
          </a:xfrm>
        </p:spPr>
        <p:txBody>
          <a:bodyPr/>
          <a:lstStyle>
            <a:lvl1pPr>
              <a:defRPr baseline="0"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 noProof="0"/>
              <a:t>Click to add text</a:t>
            </a:r>
          </a:p>
        </p:txBody>
      </p:sp>
      <p:pic>
        <p:nvPicPr>
          <p:cNvPr id="12" name="Grafik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5924" y="6485509"/>
            <a:ext cx="840360" cy="2540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93179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ircle segment_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 userDrawn="1"/>
        </p:nvSpPr>
        <p:spPr>
          <a:xfrm>
            <a:off x="0" y="2928494"/>
            <a:ext cx="12192000" cy="3929507"/>
          </a:xfrm>
          <a:prstGeom prst="rect">
            <a:avLst/>
          </a:prstGeom>
          <a:gradFill>
            <a:gsLst>
              <a:gs pos="0">
                <a:srgbClr val="6699CC">
                  <a:alpha val="40000"/>
                </a:srgbClr>
              </a:gs>
              <a:gs pos="100000">
                <a:srgbClr val="FFFFFF"/>
              </a:gs>
            </a:gsLst>
            <a:lin ang="162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sz="1400" noProof="0" dirty="0">
              <a:solidFill>
                <a:schemeClr val="tx1"/>
              </a:solidFill>
              <a:latin typeface="BISansOpti"/>
            </a:endParaRPr>
          </a:p>
        </p:txBody>
      </p:sp>
      <p:cxnSp>
        <p:nvCxnSpPr>
          <p:cNvPr id="5" name="Gerade Verbindung 4"/>
          <p:cNvCxnSpPr/>
          <p:nvPr userDrawn="1"/>
        </p:nvCxnSpPr>
        <p:spPr>
          <a:xfrm>
            <a:off x="0" y="971453"/>
            <a:ext cx="12192000" cy="0"/>
          </a:xfrm>
          <a:prstGeom prst="line">
            <a:avLst/>
          </a:prstGeom>
          <a:ln w="12700">
            <a:solidFill>
              <a:srgbClr val="0033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DADE82-2989-473A-8325-7A7C25DB4E66}" type="datetime1">
              <a:rPr lang="en-GB" smtClean="0"/>
              <a:t>14/12/2021</a:t>
            </a:fld>
            <a:endParaRPr lang="en-GB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CMD T.C.M. / MCM</a:t>
            </a:r>
            <a:endParaRPr lang="en-GB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3B55C4-4F5A-416B-997D-6CE47EB0A94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" name="Rechteck 12"/>
          <p:cNvSpPr/>
          <p:nvPr userDrawn="1"/>
        </p:nvSpPr>
        <p:spPr>
          <a:xfrm>
            <a:off x="5" y="980018"/>
            <a:ext cx="4897308" cy="5281083"/>
          </a:xfrm>
          <a:custGeom>
            <a:avLst/>
            <a:gdLst/>
            <a:ahLst/>
            <a:cxnLst/>
            <a:rect l="l" t="t" r="r" b="b"/>
            <a:pathLst>
              <a:path w="3672981" h="3960812">
                <a:moveTo>
                  <a:pt x="0" y="0"/>
                </a:moveTo>
                <a:lnTo>
                  <a:pt x="3361658" y="0"/>
                </a:lnTo>
                <a:lnTo>
                  <a:pt x="3412473" y="127738"/>
                </a:lnTo>
                <a:cubicBezTo>
                  <a:pt x="3581102" y="597230"/>
                  <a:pt x="3672981" y="1103310"/>
                  <a:pt x="3672981" y="1630850"/>
                </a:cubicBezTo>
                <a:cubicBezTo>
                  <a:pt x="3672981" y="2378998"/>
                  <a:pt x="3488190" y="3083985"/>
                  <a:pt x="3161761" y="3702659"/>
                </a:cubicBezTo>
                <a:lnTo>
                  <a:pt x="3012298" y="3960812"/>
                </a:lnTo>
                <a:lnTo>
                  <a:pt x="0" y="3960812"/>
                </a:lnTo>
                <a:close/>
              </a:path>
            </a:pathLst>
          </a:custGeom>
          <a:solidFill>
            <a:schemeClr val="accent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sz="1400" dirty="0" err="1">
              <a:solidFill>
                <a:schemeClr val="tx1"/>
              </a:solidFill>
              <a:latin typeface="BISansOpti"/>
            </a:endParaRPr>
          </a:p>
        </p:txBody>
      </p:sp>
      <p:sp>
        <p:nvSpPr>
          <p:cNvPr id="11" name="Bildplatzhalter 20"/>
          <p:cNvSpPr>
            <a:spLocks noGrp="1"/>
          </p:cNvSpPr>
          <p:nvPr>
            <p:ph type="pic" sz="quarter" idx="13"/>
          </p:nvPr>
        </p:nvSpPr>
        <p:spPr>
          <a:xfrm>
            <a:off x="-1" y="974967"/>
            <a:ext cx="4772191" cy="5284233"/>
          </a:xfrm>
          <a:custGeom>
            <a:avLst/>
            <a:gdLst>
              <a:gd name="connsiteX0" fmla="*/ 0 w 3582000"/>
              <a:gd name="connsiteY0" fmla="*/ 0 h 3960000"/>
              <a:gd name="connsiteX1" fmla="*/ 1791000 w 3582000"/>
              <a:gd name="connsiteY1" fmla="*/ 0 h 3960000"/>
              <a:gd name="connsiteX2" fmla="*/ 3582000 w 3582000"/>
              <a:gd name="connsiteY2" fmla="*/ 1980000 h 3960000"/>
              <a:gd name="connsiteX3" fmla="*/ 1791000 w 3582000"/>
              <a:gd name="connsiteY3" fmla="*/ 3960000 h 3960000"/>
              <a:gd name="connsiteX4" fmla="*/ 0 w 3582000"/>
              <a:gd name="connsiteY4" fmla="*/ 3960000 h 3960000"/>
              <a:gd name="connsiteX5" fmla="*/ 0 w 3582000"/>
              <a:gd name="connsiteY5" fmla="*/ 0 h 3960000"/>
              <a:gd name="connsiteX0" fmla="*/ 0 w 3669107"/>
              <a:gd name="connsiteY0" fmla="*/ 0 h 3960000"/>
              <a:gd name="connsiteX1" fmla="*/ 1791000 w 3669107"/>
              <a:gd name="connsiteY1" fmla="*/ 0 h 3960000"/>
              <a:gd name="connsiteX2" fmla="*/ 3225219 w 3669107"/>
              <a:gd name="connsiteY2" fmla="*/ 807894 h 3960000"/>
              <a:gd name="connsiteX3" fmla="*/ 3582000 w 3669107"/>
              <a:gd name="connsiteY3" fmla="*/ 1980000 h 3960000"/>
              <a:gd name="connsiteX4" fmla="*/ 1791000 w 3669107"/>
              <a:gd name="connsiteY4" fmla="*/ 3960000 h 3960000"/>
              <a:gd name="connsiteX5" fmla="*/ 0 w 3669107"/>
              <a:gd name="connsiteY5" fmla="*/ 3960000 h 3960000"/>
              <a:gd name="connsiteX6" fmla="*/ 0 w 3669107"/>
              <a:gd name="connsiteY6" fmla="*/ 0 h 3960000"/>
              <a:gd name="connsiteX0" fmla="*/ 0 w 3597300"/>
              <a:gd name="connsiteY0" fmla="*/ 0 h 3960000"/>
              <a:gd name="connsiteX1" fmla="*/ 1791000 w 3597300"/>
              <a:gd name="connsiteY1" fmla="*/ 0 h 3960000"/>
              <a:gd name="connsiteX2" fmla="*/ 3225219 w 3597300"/>
              <a:gd name="connsiteY2" fmla="*/ 807894 h 3960000"/>
              <a:gd name="connsiteX3" fmla="*/ 3582000 w 3597300"/>
              <a:gd name="connsiteY3" fmla="*/ 1980000 h 3960000"/>
              <a:gd name="connsiteX4" fmla="*/ 2862382 w 3597300"/>
              <a:gd name="connsiteY4" fmla="*/ 3307821 h 3960000"/>
              <a:gd name="connsiteX5" fmla="*/ 1791000 w 3597300"/>
              <a:gd name="connsiteY5" fmla="*/ 3960000 h 3960000"/>
              <a:gd name="connsiteX6" fmla="*/ 0 w 3597300"/>
              <a:gd name="connsiteY6" fmla="*/ 3960000 h 3960000"/>
              <a:gd name="connsiteX7" fmla="*/ 0 w 3597300"/>
              <a:gd name="connsiteY7" fmla="*/ 0 h 3960000"/>
              <a:gd name="connsiteX0" fmla="*/ 0 w 3597300"/>
              <a:gd name="connsiteY0" fmla="*/ 0 h 3960000"/>
              <a:gd name="connsiteX1" fmla="*/ 3261025 w 3597300"/>
              <a:gd name="connsiteY1" fmla="*/ 3175 h 3960000"/>
              <a:gd name="connsiteX2" fmla="*/ 3225219 w 3597300"/>
              <a:gd name="connsiteY2" fmla="*/ 807894 h 3960000"/>
              <a:gd name="connsiteX3" fmla="*/ 3582000 w 3597300"/>
              <a:gd name="connsiteY3" fmla="*/ 1980000 h 3960000"/>
              <a:gd name="connsiteX4" fmla="*/ 2862382 w 3597300"/>
              <a:gd name="connsiteY4" fmla="*/ 3307821 h 3960000"/>
              <a:gd name="connsiteX5" fmla="*/ 1791000 w 3597300"/>
              <a:gd name="connsiteY5" fmla="*/ 3960000 h 3960000"/>
              <a:gd name="connsiteX6" fmla="*/ 0 w 3597300"/>
              <a:gd name="connsiteY6" fmla="*/ 3960000 h 3960000"/>
              <a:gd name="connsiteX7" fmla="*/ 0 w 3597300"/>
              <a:gd name="connsiteY7" fmla="*/ 0 h 3960000"/>
              <a:gd name="connsiteX0" fmla="*/ 0 w 3597300"/>
              <a:gd name="connsiteY0" fmla="*/ 0 h 3960000"/>
              <a:gd name="connsiteX1" fmla="*/ 3019725 w 3597300"/>
              <a:gd name="connsiteY1" fmla="*/ 282575 h 3960000"/>
              <a:gd name="connsiteX2" fmla="*/ 3225219 w 3597300"/>
              <a:gd name="connsiteY2" fmla="*/ 807894 h 3960000"/>
              <a:gd name="connsiteX3" fmla="*/ 3582000 w 3597300"/>
              <a:gd name="connsiteY3" fmla="*/ 1980000 h 3960000"/>
              <a:gd name="connsiteX4" fmla="*/ 2862382 w 3597300"/>
              <a:gd name="connsiteY4" fmla="*/ 3307821 h 3960000"/>
              <a:gd name="connsiteX5" fmla="*/ 1791000 w 3597300"/>
              <a:gd name="connsiteY5" fmla="*/ 3960000 h 3960000"/>
              <a:gd name="connsiteX6" fmla="*/ 0 w 3597300"/>
              <a:gd name="connsiteY6" fmla="*/ 3960000 h 3960000"/>
              <a:gd name="connsiteX7" fmla="*/ 0 w 3597300"/>
              <a:gd name="connsiteY7" fmla="*/ 0 h 3960000"/>
              <a:gd name="connsiteX0" fmla="*/ 0 w 3597300"/>
              <a:gd name="connsiteY0" fmla="*/ 3175 h 3963175"/>
              <a:gd name="connsiteX1" fmla="*/ 3264200 w 3597300"/>
              <a:gd name="connsiteY1" fmla="*/ 0 h 3963175"/>
              <a:gd name="connsiteX2" fmla="*/ 3225219 w 3597300"/>
              <a:gd name="connsiteY2" fmla="*/ 811069 h 3963175"/>
              <a:gd name="connsiteX3" fmla="*/ 3582000 w 3597300"/>
              <a:gd name="connsiteY3" fmla="*/ 1983175 h 3963175"/>
              <a:gd name="connsiteX4" fmla="*/ 2862382 w 3597300"/>
              <a:gd name="connsiteY4" fmla="*/ 3310996 h 3963175"/>
              <a:gd name="connsiteX5" fmla="*/ 1791000 w 3597300"/>
              <a:gd name="connsiteY5" fmla="*/ 3963175 h 3963175"/>
              <a:gd name="connsiteX6" fmla="*/ 0 w 3597300"/>
              <a:gd name="connsiteY6" fmla="*/ 3963175 h 3963175"/>
              <a:gd name="connsiteX7" fmla="*/ 0 w 3597300"/>
              <a:gd name="connsiteY7" fmla="*/ 3175 h 3963175"/>
              <a:gd name="connsiteX0" fmla="*/ 0 w 3597300"/>
              <a:gd name="connsiteY0" fmla="*/ 3175 h 3963175"/>
              <a:gd name="connsiteX1" fmla="*/ 3264200 w 3597300"/>
              <a:gd name="connsiteY1" fmla="*/ 0 h 3963175"/>
              <a:gd name="connsiteX2" fmla="*/ 3225219 w 3597300"/>
              <a:gd name="connsiteY2" fmla="*/ 811069 h 3963175"/>
              <a:gd name="connsiteX3" fmla="*/ 3582000 w 3597300"/>
              <a:gd name="connsiteY3" fmla="*/ 1983175 h 3963175"/>
              <a:gd name="connsiteX4" fmla="*/ 2862382 w 3597300"/>
              <a:gd name="connsiteY4" fmla="*/ 3310996 h 3963175"/>
              <a:gd name="connsiteX5" fmla="*/ 1791000 w 3597300"/>
              <a:gd name="connsiteY5" fmla="*/ 3963175 h 3963175"/>
              <a:gd name="connsiteX6" fmla="*/ 0 w 3597300"/>
              <a:gd name="connsiteY6" fmla="*/ 3963175 h 3963175"/>
              <a:gd name="connsiteX7" fmla="*/ 0 w 3597300"/>
              <a:gd name="connsiteY7" fmla="*/ 3175 h 3963175"/>
              <a:gd name="connsiteX0" fmla="*/ 0 w 3616616"/>
              <a:gd name="connsiteY0" fmla="*/ 21630 h 3981630"/>
              <a:gd name="connsiteX1" fmla="*/ 3264200 w 3616616"/>
              <a:gd name="connsiteY1" fmla="*/ 18455 h 3981630"/>
              <a:gd name="connsiteX2" fmla="*/ 3323644 w 3616616"/>
              <a:gd name="connsiteY2" fmla="*/ 184999 h 3981630"/>
              <a:gd name="connsiteX3" fmla="*/ 3582000 w 3616616"/>
              <a:gd name="connsiteY3" fmla="*/ 2001630 h 3981630"/>
              <a:gd name="connsiteX4" fmla="*/ 2862382 w 3616616"/>
              <a:gd name="connsiteY4" fmla="*/ 3329451 h 3981630"/>
              <a:gd name="connsiteX5" fmla="*/ 1791000 w 3616616"/>
              <a:gd name="connsiteY5" fmla="*/ 3981630 h 3981630"/>
              <a:gd name="connsiteX6" fmla="*/ 0 w 3616616"/>
              <a:gd name="connsiteY6" fmla="*/ 3981630 h 3981630"/>
              <a:gd name="connsiteX7" fmla="*/ 0 w 3616616"/>
              <a:gd name="connsiteY7" fmla="*/ 21630 h 3981630"/>
              <a:gd name="connsiteX0" fmla="*/ 0 w 3616616"/>
              <a:gd name="connsiteY0" fmla="*/ 3175 h 3963175"/>
              <a:gd name="connsiteX1" fmla="*/ 3264200 w 3616616"/>
              <a:gd name="connsiteY1" fmla="*/ 0 h 3963175"/>
              <a:gd name="connsiteX2" fmla="*/ 3323644 w 3616616"/>
              <a:gd name="connsiteY2" fmla="*/ 166544 h 3963175"/>
              <a:gd name="connsiteX3" fmla="*/ 3582000 w 3616616"/>
              <a:gd name="connsiteY3" fmla="*/ 1983175 h 3963175"/>
              <a:gd name="connsiteX4" fmla="*/ 2862382 w 3616616"/>
              <a:gd name="connsiteY4" fmla="*/ 3310996 h 3963175"/>
              <a:gd name="connsiteX5" fmla="*/ 1791000 w 3616616"/>
              <a:gd name="connsiteY5" fmla="*/ 3963175 h 3963175"/>
              <a:gd name="connsiteX6" fmla="*/ 0 w 3616616"/>
              <a:gd name="connsiteY6" fmla="*/ 3963175 h 3963175"/>
              <a:gd name="connsiteX7" fmla="*/ 0 w 3616616"/>
              <a:gd name="connsiteY7" fmla="*/ 3175 h 3963175"/>
              <a:gd name="connsiteX0" fmla="*/ 0 w 3601265"/>
              <a:gd name="connsiteY0" fmla="*/ 3175 h 3963175"/>
              <a:gd name="connsiteX1" fmla="*/ 3264200 w 3601265"/>
              <a:gd name="connsiteY1" fmla="*/ 0 h 3963175"/>
              <a:gd name="connsiteX2" fmla="*/ 3323644 w 3601265"/>
              <a:gd name="connsiteY2" fmla="*/ 166544 h 3963175"/>
              <a:gd name="connsiteX3" fmla="*/ 3582000 w 3601265"/>
              <a:gd name="connsiteY3" fmla="*/ 1983175 h 3963175"/>
              <a:gd name="connsiteX4" fmla="*/ 2862382 w 3601265"/>
              <a:gd name="connsiteY4" fmla="*/ 3310996 h 3963175"/>
              <a:gd name="connsiteX5" fmla="*/ 1791000 w 3601265"/>
              <a:gd name="connsiteY5" fmla="*/ 3963175 h 3963175"/>
              <a:gd name="connsiteX6" fmla="*/ 0 w 3601265"/>
              <a:gd name="connsiteY6" fmla="*/ 3963175 h 3963175"/>
              <a:gd name="connsiteX7" fmla="*/ 0 w 3601265"/>
              <a:gd name="connsiteY7" fmla="*/ 3175 h 3963175"/>
              <a:gd name="connsiteX0" fmla="*/ 0 w 3364734"/>
              <a:gd name="connsiteY0" fmla="*/ 3175 h 3963175"/>
              <a:gd name="connsiteX1" fmla="*/ 3264200 w 3364734"/>
              <a:gd name="connsiteY1" fmla="*/ 0 h 3963175"/>
              <a:gd name="connsiteX2" fmla="*/ 3323644 w 3364734"/>
              <a:gd name="connsiteY2" fmla="*/ 166544 h 3963175"/>
              <a:gd name="connsiteX3" fmla="*/ 3016850 w 3364734"/>
              <a:gd name="connsiteY3" fmla="*/ 1614875 h 3963175"/>
              <a:gd name="connsiteX4" fmla="*/ 2862382 w 3364734"/>
              <a:gd name="connsiteY4" fmla="*/ 3310996 h 3963175"/>
              <a:gd name="connsiteX5" fmla="*/ 1791000 w 3364734"/>
              <a:gd name="connsiteY5" fmla="*/ 3963175 h 3963175"/>
              <a:gd name="connsiteX6" fmla="*/ 0 w 3364734"/>
              <a:gd name="connsiteY6" fmla="*/ 3963175 h 3963175"/>
              <a:gd name="connsiteX7" fmla="*/ 0 w 3364734"/>
              <a:gd name="connsiteY7" fmla="*/ 3175 h 3963175"/>
              <a:gd name="connsiteX0" fmla="*/ 0 w 3598344"/>
              <a:gd name="connsiteY0" fmla="*/ 3175 h 3963175"/>
              <a:gd name="connsiteX1" fmla="*/ 3264200 w 3598344"/>
              <a:gd name="connsiteY1" fmla="*/ 0 h 3963175"/>
              <a:gd name="connsiteX2" fmla="*/ 3323644 w 3598344"/>
              <a:gd name="connsiteY2" fmla="*/ 166544 h 3963175"/>
              <a:gd name="connsiteX3" fmla="*/ 3578825 w 3598344"/>
              <a:gd name="connsiteY3" fmla="*/ 1640275 h 3963175"/>
              <a:gd name="connsiteX4" fmla="*/ 2862382 w 3598344"/>
              <a:gd name="connsiteY4" fmla="*/ 3310996 h 3963175"/>
              <a:gd name="connsiteX5" fmla="*/ 1791000 w 3598344"/>
              <a:gd name="connsiteY5" fmla="*/ 3963175 h 3963175"/>
              <a:gd name="connsiteX6" fmla="*/ 0 w 3598344"/>
              <a:gd name="connsiteY6" fmla="*/ 3963175 h 3963175"/>
              <a:gd name="connsiteX7" fmla="*/ 0 w 3598344"/>
              <a:gd name="connsiteY7" fmla="*/ 3175 h 3963175"/>
              <a:gd name="connsiteX0" fmla="*/ 0 w 3612056"/>
              <a:gd name="connsiteY0" fmla="*/ 3175 h 3963175"/>
              <a:gd name="connsiteX1" fmla="*/ 3264200 w 3612056"/>
              <a:gd name="connsiteY1" fmla="*/ 0 h 3963175"/>
              <a:gd name="connsiteX2" fmla="*/ 3323644 w 3612056"/>
              <a:gd name="connsiteY2" fmla="*/ 166544 h 3963175"/>
              <a:gd name="connsiteX3" fmla="*/ 3578825 w 3612056"/>
              <a:gd name="connsiteY3" fmla="*/ 1640275 h 3963175"/>
              <a:gd name="connsiteX4" fmla="*/ 2862382 w 3612056"/>
              <a:gd name="connsiteY4" fmla="*/ 3310996 h 3963175"/>
              <a:gd name="connsiteX5" fmla="*/ 1791000 w 3612056"/>
              <a:gd name="connsiteY5" fmla="*/ 3963175 h 3963175"/>
              <a:gd name="connsiteX6" fmla="*/ 0 w 3612056"/>
              <a:gd name="connsiteY6" fmla="*/ 3963175 h 3963175"/>
              <a:gd name="connsiteX7" fmla="*/ 0 w 3612056"/>
              <a:gd name="connsiteY7" fmla="*/ 3175 h 3963175"/>
              <a:gd name="connsiteX0" fmla="*/ 0 w 3635528"/>
              <a:gd name="connsiteY0" fmla="*/ 3175 h 3963175"/>
              <a:gd name="connsiteX1" fmla="*/ 3264200 w 3635528"/>
              <a:gd name="connsiteY1" fmla="*/ 0 h 3963175"/>
              <a:gd name="connsiteX2" fmla="*/ 3323644 w 3635528"/>
              <a:gd name="connsiteY2" fmla="*/ 166544 h 3963175"/>
              <a:gd name="connsiteX3" fmla="*/ 3578825 w 3635528"/>
              <a:gd name="connsiteY3" fmla="*/ 1640275 h 3963175"/>
              <a:gd name="connsiteX4" fmla="*/ 2862382 w 3635528"/>
              <a:gd name="connsiteY4" fmla="*/ 3310996 h 3963175"/>
              <a:gd name="connsiteX5" fmla="*/ 1791000 w 3635528"/>
              <a:gd name="connsiteY5" fmla="*/ 3963175 h 3963175"/>
              <a:gd name="connsiteX6" fmla="*/ 0 w 3635528"/>
              <a:gd name="connsiteY6" fmla="*/ 3963175 h 3963175"/>
              <a:gd name="connsiteX7" fmla="*/ 0 w 3635528"/>
              <a:gd name="connsiteY7" fmla="*/ 3175 h 3963175"/>
              <a:gd name="connsiteX0" fmla="*/ 0 w 3578828"/>
              <a:gd name="connsiteY0" fmla="*/ 3175 h 3963175"/>
              <a:gd name="connsiteX1" fmla="*/ 3264200 w 3578828"/>
              <a:gd name="connsiteY1" fmla="*/ 0 h 3963175"/>
              <a:gd name="connsiteX2" fmla="*/ 3323644 w 3578828"/>
              <a:gd name="connsiteY2" fmla="*/ 166544 h 3963175"/>
              <a:gd name="connsiteX3" fmla="*/ 3578825 w 3578828"/>
              <a:gd name="connsiteY3" fmla="*/ 1640275 h 3963175"/>
              <a:gd name="connsiteX4" fmla="*/ 2862382 w 3578828"/>
              <a:gd name="connsiteY4" fmla="*/ 3310996 h 3963175"/>
              <a:gd name="connsiteX5" fmla="*/ 1791000 w 3578828"/>
              <a:gd name="connsiteY5" fmla="*/ 3963175 h 3963175"/>
              <a:gd name="connsiteX6" fmla="*/ 0 w 3578828"/>
              <a:gd name="connsiteY6" fmla="*/ 3963175 h 3963175"/>
              <a:gd name="connsiteX7" fmla="*/ 0 w 3578828"/>
              <a:gd name="connsiteY7" fmla="*/ 3175 h 3963175"/>
              <a:gd name="connsiteX0" fmla="*/ 0 w 3578942"/>
              <a:gd name="connsiteY0" fmla="*/ 3175 h 3963175"/>
              <a:gd name="connsiteX1" fmla="*/ 3264200 w 3578942"/>
              <a:gd name="connsiteY1" fmla="*/ 0 h 3963175"/>
              <a:gd name="connsiteX2" fmla="*/ 3323644 w 3578942"/>
              <a:gd name="connsiteY2" fmla="*/ 166544 h 3963175"/>
              <a:gd name="connsiteX3" fmla="*/ 3578825 w 3578942"/>
              <a:gd name="connsiteY3" fmla="*/ 1640275 h 3963175"/>
              <a:gd name="connsiteX4" fmla="*/ 2862382 w 3578942"/>
              <a:gd name="connsiteY4" fmla="*/ 3310996 h 3963175"/>
              <a:gd name="connsiteX5" fmla="*/ 1791000 w 3578942"/>
              <a:gd name="connsiteY5" fmla="*/ 3963175 h 3963175"/>
              <a:gd name="connsiteX6" fmla="*/ 0 w 3578942"/>
              <a:gd name="connsiteY6" fmla="*/ 3963175 h 3963175"/>
              <a:gd name="connsiteX7" fmla="*/ 0 w 3578942"/>
              <a:gd name="connsiteY7" fmla="*/ 3175 h 3963175"/>
              <a:gd name="connsiteX0" fmla="*/ 0 w 3578942"/>
              <a:gd name="connsiteY0" fmla="*/ 3175 h 3963175"/>
              <a:gd name="connsiteX1" fmla="*/ 3264200 w 3578942"/>
              <a:gd name="connsiteY1" fmla="*/ 0 h 3963175"/>
              <a:gd name="connsiteX2" fmla="*/ 3323644 w 3578942"/>
              <a:gd name="connsiteY2" fmla="*/ 166544 h 3963175"/>
              <a:gd name="connsiteX3" fmla="*/ 3578825 w 3578942"/>
              <a:gd name="connsiteY3" fmla="*/ 1640275 h 3963175"/>
              <a:gd name="connsiteX4" fmla="*/ 2862382 w 3578942"/>
              <a:gd name="connsiteY4" fmla="*/ 3310996 h 3963175"/>
              <a:gd name="connsiteX5" fmla="*/ 1791000 w 3578942"/>
              <a:gd name="connsiteY5" fmla="*/ 3963175 h 3963175"/>
              <a:gd name="connsiteX6" fmla="*/ 0 w 3578942"/>
              <a:gd name="connsiteY6" fmla="*/ 3963175 h 3963175"/>
              <a:gd name="connsiteX7" fmla="*/ 0 w 3578942"/>
              <a:gd name="connsiteY7" fmla="*/ 3175 h 3963175"/>
              <a:gd name="connsiteX0" fmla="*/ 0 w 3590408"/>
              <a:gd name="connsiteY0" fmla="*/ 3175 h 3974831"/>
              <a:gd name="connsiteX1" fmla="*/ 3264200 w 3590408"/>
              <a:gd name="connsiteY1" fmla="*/ 0 h 3974831"/>
              <a:gd name="connsiteX2" fmla="*/ 3323644 w 3590408"/>
              <a:gd name="connsiteY2" fmla="*/ 166544 h 3974831"/>
              <a:gd name="connsiteX3" fmla="*/ 3578825 w 3590408"/>
              <a:gd name="connsiteY3" fmla="*/ 1640275 h 3974831"/>
              <a:gd name="connsiteX4" fmla="*/ 3002082 w 3590408"/>
              <a:gd name="connsiteY4" fmla="*/ 3809471 h 3974831"/>
              <a:gd name="connsiteX5" fmla="*/ 1791000 w 3590408"/>
              <a:gd name="connsiteY5" fmla="*/ 3963175 h 3974831"/>
              <a:gd name="connsiteX6" fmla="*/ 0 w 3590408"/>
              <a:gd name="connsiteY6" fmla="*/ 3963175 h 3974831"/>
              <a:gd name="connsiteX7" fmla="*/ 0 w 3590408"/>
              <a:gd name="connsiteY7" fmla="*/ 3175 h 3974831"/>
              <a:gd name="connsiteX0" fmla="*/ 0 w 3590408"/>
              <a:gd name="connsiteY0" fmla="*/ 3175 h 3974831"/>
              <a:gd name="connsiteX1" fmla="*/ 3264200 w 3590408"/>
              <a:gd name="connsiteY1" fmla="*/ 0 h 3974831"/>
              <a:gd name="connsiteX2" fmla="*/ 3323644 w 3590408"/>
              <a:gd name="connsiteY2" fmla="*/ 166544 h 3974831"/>
              <a:gd name="connsiteX3" fmla="*/ 3578825 w 3590408"/>
              <a:gd name="connsiteY3" fmla="*/ 1640275 h 3974831"/>
              <a:gd name="connsiteX4" fmla="*/ 3002082 w 3590408"/>
              <a:gd name="connsiteY4" fmla="*/ 3809471 h 3974831"/>
              <a:gd name="connsiteX5" fmla="*/ 1791000 w 3590408"/>
              <a:gd name="connsiteY5" fmla="*/ 3963175 h 3974831"/>
              <a:gd name="connsiteX6" fmla="*/ 0 w 3590408"/>
              <a:gd name="connsiteY6" fmla="*/ 3963175 h 3974831"/>
              <a:gd name="connsiteX7" fmla="*/ 0 w 3590408"/>
              <a:gd name="connsiteY7" fmla="*/ 3175 h 3974831"/>
              <a:gd name="connsiteX0" fmla="*/ 0 w 3590408"/>
              <a:gd name="connsiteY0" fmla="*/ 3175 h 3975950"/>
              <a:gd name="connsiteX1" fmla="*/ 3264200 w 3590408"/>
              <a:gd name="connsiteY1" fmla="*/ 0 h 3975950"/>
              <a:gd name="connsiteX2" fmla="*/ 3323644 w 3590408"/>
              <a:gd name="connsiteY2" fmla="*/ 166544 h 3975950"/>
              <a:gd name="connsiteX3" fmla="*/ 3578825 w 3590408"/>
              <a:gd name="connsiteY3" fmla="*/ 1640275 h 3975950"/>
              <a:gd name="connsiteX4" fmla="*/ 3002082 w 3590408"/>
              <a:gd name="connsiteY4" fmla="*/ 3809471 h 3975950"/>
              <a:gd name="connsiteX5" fmla="*/ 2908600 w 3590408"/>
              <a:gd name="connsiteY5" fmla="*/ 3966350 h 3975950"/>
              <a:gd name="connsiteX6" fmla="*/ 0 w 3590408"/>
              <a:gd name="connsiteY6" fmla="*/ 3963175 h 3975950"/>
              <a:gd name="connsiteX7" fmla="*/ 0 w 3590408"/>
              <a:gd name="connsiteY7" fmla="*/ 3175 h 3975950"/>
              <a:gd name="connsiteX0" fmla="*/ 0 w 3590408"/>
              <a:gd name="connsiteY0" fmla="*/ 3175 h 3966350"/>
              <a:gd name="connsiteX1" fmla="*/ 3264200 w 3590408"/>
              <a:gd name="connsiteY1" fmla="*/ 0 h 3966350"/>
              <a:gd name="connsiteX2" fmla="*/ 3323644 w 3590408"/>
              <a:gd name="connsiteY2" fmla="*/ 166544 h 3966350"/>
              <a:gd name="connsiteX3" fmla="*/ 3578825 w 3590408"/>
              <a:gd name="connsiteY3" fmla="*/ 1640275 h 3966350"/>
              <a:gd name="connsiteX4" fmla="*/ 3002082 w 3590408"/>
              <a:gd name="connsiteY4" fmla="*/ 3809471 h 3966350"/>
              <a:gd name="connsiteX5" fmla="*/ 2908600 w 3590408"/>
              <a:gd name="connsiteY5" fmla="*/ 3966350 h 3966350"/>
              <a:gd name="connsiteX6" fmla="*/ 0 w 3590408"/>
              <a:gd name="connsiteY6" fmla="*/ 3963175 h 3966350"/>
              <a:gd name="connsiteX7" fmla="*/ 0 w 3590408"/>
              <a:gd name="connsiteY7" fmla="*/ 3175 h 3966350"/>
              <a:gd name="connsiteX0" fmla="*/ 0 w 3590408"/>
              <a:gd name="connsiteY0" fmla="*/ 3175 h 3966350"/>
              <a:gd name="connsiteX1" fmla="*/ 3264200 w 3590408"/>
              <a:gd name="connsiteY1" fmla="*/ 0 h 3966350"/>
              <a:gd name="connsiteX2" fmla="*/ 3323644 w 3590408"/>
              <a:gd name="connsiteY2" fmla="*/ 166544 h 3966350"/>
              <a:gd name="connsiteX3" fmla="*/ 3578825 w 3590408"/>
              <a:gd name="connsiteY3" fmla="*/ 1640275 h 3966350"/>
              <a:gd name="connsiteX4" fmla="*/ 3002082 w 3590408"/>
              <a:gd name="connsiteY4" fmla="*/ 3809471 h 3966350"/>
              <a:gd name="connsiteX5" fmla="*/ 2908600 w 3590408"/>
              <a:gd name="connsiteY5" fmla="*/ 3966350 h 3966350"/>
              <a:gd name="connsiteX6" fmla="*/ 0 w 3590408"/>
              <a:gd name="connsiteY6" fmla="*/ 3963175 h 3966350"/>
              <a:gd name="connsiteX7" fmla="*/ 0 w 3590408"/>
              <a:gd name="connsiteY7" fmla="*/ 3175 h 3966350"/>
              <a:gd name="connsiteX0" fmla="*/ 0 w 3590408"/>
              <a:gd name="connsiteY0" fmla="*/ 3175 h 3966350"/>
              <a:gd name="connsiteX1" fmla="*/ 3264200 w 3590408"/>
              <a:gd name="connsiteY1" fmla="*/ 0 h 3966350"/>
              <a:gd name="connsiteX2" fmla="*/ 3323644 w 3590408"/>
              <a:gd name="connsiteY2" fmla="*/ 166544 h 3966350"/>
              <a:gd name="connsiteX3" fmla="*/ 3578825 w 3590408"/>
              <a:gd name="connsiteY3" fmla="*/ 1640275 h 3966350"/>
              <a:gd name="connsiteX4" fmla="*/ 3002082 w 3590408"/>
              <a:gd name="connsiteY4" fmla="*/ 3809471 h 3966350"/>
              <a:gd name="connsiteX5" fmla="*/ 2908600 w 3590408"/>
              <a:gd name="connsiteY5" fmla="*/ 3966350 h 3966350"/>
              <a:gd name="connsiteX6" fmla="*/ 0 w 3590408"/>
              <a:gd name="connsiteY6" fmla="*/ 3963175 h 3966350"/>
              <a:gd name="connsiteX7" fmla="*/ 0 w 3590408"/>
              <a:gd name="connsiteY7" fmla="*/ 3175 h 3966350"/>
              <a:gd name="connsiteX0" fmla="*/ 0 w 3580367"/>
              <a:gd name="connsiteY0" fmla="*/ 3175 h 3966350"/>
              <a:gd name="connsiteX1" fmla="*/ 3264200 w 3580367"/>
              <a:gd name="connsiteY1" fmla="*/ 0 h 3966350"/>
              <a:gd name="connsiteX2" fmla="*/ 3323644 w 3580367"/>
              <a:gd name="connsiteY2" fmla="*/ 166544 h 3966350"/>
              <a:gd name="connsiteX3" fmla="*/ 3578825 w 3580367"/>
              <a:gd name="connsiteY3" fmla="*/ 1640275 h 3966350"/>
              <a:gd name="connsiteX4" fmla="*/ 3002082 w 3580367"/>
              <a:gd name="connsiteY4" fmla="*/ 3809471 h 3966350"/>
              <a:gd name="connsiteX5" fmla="*/ 2908600 w 3580367"/>
              <a:gd name="connsiteY5" fmla="*/ 3966350 h 3966350"/>
              <a:gd name="connsiteX6" fmla="*/ 0 w 3580367"/>
              <a:gd name="connsiteY6" fmla="*/ 3963175 h 3966350"/>
              <a:gd name="connsiteX7" fmla="*/ 0 w 3580367"/>
              <a:gd name="connsiteY7" fmla="*/ 3175 h 3966350"/>
              <a:gd name="connsiteX0" fmla="*/ 0 w 3578976"/>
              <a:gd name="connsiteY0" fmla="*/ 3175 h 3966350"/>
              <a:gd name="connsiteX1" fmla="*/ 3264200 w 3578976"/>
              <a:gd name="connsiteY1" fmla="*/ 0 h 3966350"/>
              <a:gd name="connsiteX2" fmla="*/ 3323644 w 3578976"/>
              <a:gd name="connsiteY2" fmla="*/ 166544 h 3966350"/>
              <a:gd name="connsiteX3" fmla="*/ 3578825 w 3578976"/>
              <a:gd name="connsiteY3" fmla="*/ 1640275 h 3966350"/>
              <a:gd name="connsiteX4" fmla="*/ 3002082 w 3578976"/>
              <a:gd name="connsiteY4" fmla="*/ 3809471 h 3966350"/>
              <a:gd name="connsiteX5" fmla="*/ 2908600 w 3578976"/>
              <a:gd name="connsiteY5" fmla="*/ 3966350 h 3966350"/>
              <a:gd name="connsiteX6" fmla="*/ 0 w 3578976"/>
              <a:gd name="connsiteY6" fmla="*/ 3963175 h 3966350"/>
              <a:gd name="connsiteX7" fmla="*/ 0 w 3578976"/>
              <a:gd name="connsiteY7" fmla="*/ 3175 h 3966350"/>
              <a:gd name="connsiteX0" fmla="*/ 0 w 3579143"/>
              <a:gd name="connsiteY0" fmla="*/ 3175 h 3966350"/>
              <a:gd name="connsiteX1" fmla="*/ 3264200 w 3579143"/>
              <a:gd name="connsiteY1" fmla="*/ 0 h 3966350"/>
              <a:gd name="connsiteX2" fmla="*/ 3323644 w 3579143"/>
              <a:gd name="connsiteY2" fmla="*/ 166544 h 3966350"/>
              <a:gd name="connsiteX3" fmla="*/ 3578825 w 3579143"/>
              <a:gd name="connsiteY3" fmla="*/ 1640275 h 3966350"/>
              <a:gd name="connsiteX4" fmla="*/ 3002082 w 3579143"/>
              <a:gd name="connsiteY4" fmla="*/ 3809471 h 3966350"/>
              <a:gd name="connsiteX5" fmla="*/ 2908600 w 3579143"/>
              <a:gd name="connsiteY5" fmla="*/ 3966350 h 3966350"/>
              <a:gd name="connsiteX6" fmla="*/ 0 w 3579143"/>
              <a:gd name="connsiteY6" fmla="*/ 3963175 h 3966350"/>
              <a:gd name="connsiteX7" fmla="*/ 0 w 3579143"/>
              <a:gd name="connsiteY7" fmla="*/ 3175 h 3966350"/>
              <a:gd name="connsiteX0" fmla="*/ 0 w 3579143"/>
              <a:gd name="connsiteY0" fmla="*/ 3175 h 4131450"/>
              <a:gd name="connsiteX1" fmla="*/ 3264200 w 3579143"/>
              <a:gd name="connsiteY1" fmla="*/ 0 h 4131450"/>
              <a:gd name="connsiteX2" fmla="*/ 3323644 w 3579143"/>
              <a:gd name="connsiteY2" fmla="*/ 166544 h 4131450"/>
              <a:gd name="connsiteX3" fmla="*/ 3578825 w 3579143"/>
              <a:gd name="connsiteY3" fmla="*/ 1640275 h 4131450"/>
              <a:gd name="connsiteX4" fmla="*/ 3002082 w 3579143"/>
              <a:gd name="connsiteY4" fmla="*/ 3809471 h 4131450"/>
              <a:gd name="connsiteX5" fmla="*/ 3159425 w 3579143"/>
              <a:gd name="connsiteY5" fmla="*/ 4131450 h 4131450"/>
              <a:gd name="connsiteX6" fmla="*/ 0 w 3579143"/>
              <a:gd name="connsiteY6" fmla="*/ 3963175 h 4131450"/>
              <a:gd name="connsiteX7" fmla="*/ 0 w 3579143"/>
              <a:gd name="connsiteY7" fmla="*/ 3175 h 4131450"/>
              <a:gd name="connsiteX0" fmla="*/ 0 w 3579143"/>
              <a:gd name="connsiteY0" fmla="*/ 3175 h 3963175"/>
              <a:gd name="connsiteX1" fmla="*/ 3264200 w 3579143"/>
              <a:gd name="connsiteY1" fmla="*/ 0 h 3963175"/>
              <a:gd name="connsiteX2" fmla="*/ 3323644 w 3579143"/>
              <a:gd name="connsiteY2" fmla="*/ 166544 h 3963175"/>
              <a:gd name="connsiteX3" fmla="*/ 3578825 w 3579143"/>
              <a:gd name="connsiteY3" fmla="*/ 1640275 h 3963175"/>
              <a:gd name="connsiteX4" fmla="*/ 3002082 w 3579143"/>
              <a:gd name="connsiteY4" fmla="*/ 3809471 h 3963175"/>
              <a:gd name="connsiteX5" fmla="*/ 2905425 w 3579143"/>
              <a:gd name="connsiteY5" fmla="*/ 3963175 h 3963175"/>
              <a:gd name="connsiteX6" fmla="*/ 0 w 3579143"/>
              <a:gd name="connsiteY6" fmla="*/ 3963175 h 3963175"/>
              <a:gd name="connsiteX7" fmla="*/ 0 w 3579143"/>
              <a:gd name="connsiteY7" fmla="*/ 3175 h 3963175"/>
              <a:gd name="connsiteX0" fmla="*/ 0 w 3579143"/>
              <a:gd name="connsiteY0" fmla="*/ 3175 h 3963175"/>
              <a:gd name="connsiteX1" fmla="*/ 3264200 w 3579143"/>
              <a:gd name="connsiteY1" fmla="*/ 0 h 3963175"/>
              <a:gd name="connsiteX2" fmla="*/ 3323644 w 3579143"/>
              <a:gd name="connsiteY2" fmla="*/ 166544 h 3963175"/>
              <a:gd name="connsiteX3" fmla="*/ 3578825 w 3579143"/>
              <a:gd name="connsiteY3" fmla="*/ 1640275 h 3963175"/>
              <a:gd name="connsiteX4" fmla="*/ 3002082 w 3579143"/>
              <a:gd name="connsiteY4" fmla="*/ 3809471 h 3963175"/>
              <a:gd name="connsiteX5" fmla="*/ 2905425 w 3579143"/>
              <a:gd name="connsiteY5" fmla="*/ 3963175 h 3963175"/>
              <a:gd name="connsiteX6" fmla="*/ 0 w 3579143"/>
              <a:gd name="connsiteY6" fmla="*/ 3963175 h 3963175"/>
              <a:gd name="connsiteX7" fmla="*/ 0 w 3579143"/>
              <a:gd name="connsiteY7" fmla="*/ 3175 h 3963175"/>
              <a:gd name="connsiteX0" fmla="*/ 0 w 3579143"/>
              <a:gd name="connsiteY0" fmla="*/ 3175 h 3963175"/>
              <a:gd name="connsiteX1" fmla="*/ 3264200 w 3579143"/>
              <a:gd name="connsiteY1" fmla="*/ 0 h 3963175"/>
              <a:gd name="connsiteX2" fmla="*/ 3323644 w 3579143"/>
              <a:gd name="connsiteY2" fmla="*/ 166544 h 3963175"/>
              <a:gd name="connsiteX3" fmla="*/ 3578825 w 3579143"/>
              <a:gd name="connsiteY3" fmla="*/ 1640275 h 3963175"/>
              <a:gd name="connsiteX4" fmla="*/ 3002082 w 3579143"/>
              <a:gd name="connsiteY4" fmla="*/ 3809471 h 3963175"/>
              <a:gd name="connsiteX5" fmla="*/ 2905425 w 3579143"/>
              <a:gd name="connsiteY5" fmla="*/ 3963175 h 3963175"/>
              <a:gd name="connsiteX6" fmla="*/ 0 w 3579143"/>
              <a:gd name="connsiteY6" fmla="*/ 3963175 h 3963175"/>
              <a:gd name="connsiteX7" fmla="*/ 0 w 3579143"/>
              <a:gd name="connsiteY7" fmla="*/ 3175 h 39631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579143" h="3963175">
                <a:moveTo>
                  <a:pt x="0" y="3175"/>
                </a:moveTo>
                <a:lnTo>
                  <a:pt x="3264200" y="0"/>
                </a:lnTo>
                <a:cubicBezTo>
                  <a:pt x="3287387" y="61624"/>
                  <a:pt x="3301369" y="106419"/>
                  <a:pt x="3323644" y="166544"/>
                </a:cubicBezTo>
                <a:cubicBezTo>
                  <a:pt x="3491969" y="623544"/>
                  <a:pt x="3568919" y="877546"/>
                  <a:pt x="3578825" y="1640275"/>
                </a:cubicBezTo>
                <a:cubicBezTo>
                  <a:pt x="3588731" y="2403004"/>
                  <a:pt x="3367257" y="3165146"/>
                  <a:pt x="3002082" y="3809471"/>
                </a:cubicBezTo>
                <a:cubicBezTo>
                  <a:pt x="2973457" y="3863246"/>
                  <a:pt x="3011014" y="3800503"/>
                  <a:pt x="2905425" y="3963175"/>
                </a:cubicBezTo>
                <a:lnTo>
                  <a:pt x="0" y="3963175"/>
                </a:lnTo>
                <a:lnTo>
                  <a:pt x="0" y="3175"/>
                </a:lnTo>
                <a:close/>
              </a:path>
            </a:pathLst>
          </a:custGeom>
          <a:noFill/>
          <a:ln>
            <a:noFill/>
          </a:ln>
        </p:spPr>
        <p:txBody>
          <a:bodyPr lIns="720000" tIns="720000" rIns="720000" bIns="720000">
            <a:normAutofit/>
          </a:bodyPr>
          <a:lstStyle>
            <a:lvl1pPr marL="0" indent="0" algn="ctr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  <p:sp>
        <p:nvSpPr>
          <p:cNvPr id="12" name="Titel 7"/>
          <p:cNvSpPr>
            <a:spLocks noGrp="1"/>
          </p:cNvSpPr>
          <p:nvPr>
            <p:ph type="title" hasCustomPrompt="1"/>
          </p:nvPr>
        </p:nvSpPr>
        <p:spPr>
          <a:xfrm>
            <a:off x="490100" y="387429"/>
            <a:ext cx="11211800" cy="369332"/>
          </a:xfrm>
        </p:spPr>
        <p:txBody>
          <a:bodyPr/>
          <a:lstStyle/>
          <a:p>
            <a:r>
              <a:rPr lang="en-GB" noProof="0" dirty="0"/>
              <a:t>Click to add headline</a:t>
            </a:r>
          </a:p>
        </p:txBody>
      </p:sp>
      <p:sp>
        <p:nvSpPr>
          <p:cNvPr id="14" name="Inhaltsplatzhalter 11"/>
          <p:cNvSpPr>
            <a:spLocks noGrp="1"/>
          </p:cNvSpPr>
          <p:nvPr>
            <p:ph sz="quarter" idx="14" hasCustomPrompt="1"/>
          </p:nvPr>
        </p:nvSpPr>
        <p:spPr>
          <a:xfrm>
            <a:off x="5131199" y="1598400"/>
            <a:ext cx="6570701" cy="4526400"/>
          </a:xfrm>
        </p:spPr>
        <p:txBody>
          <a:bodyPr/>
          <a:lstStyle>
            <a:lvl1pPr>
              <a:defRPr baseline="0"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 noProof="0"/>
              <a:t>Click to add text</a:t>
            </a:r>
          </a:p>
        </p:txBody>
      </p:sp>
      <p:pic>
        <p:nvPicPr>
          <p:cNvPr id="13" name="Grafik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5924" y="6485509"/>
            <a:ext cx="840360" cy="2540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81311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_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hteck 1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rgbClr val="89C0FF"/>
              </a:gs>
              <a:gs pos="100000">
                <a:srgbClr val="5486C1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dirty="0">
              <a:solidFill>
                <a:prstClr val="white"/>
              </a:solidFill>
            </a:endParaRPr>
          </a:p>
        </p:txBody>
      </p:sp>
      <p:cxnSp>
        <p:nvCxnSpPr>
          <p:cNvPr id="17" name="Gerade Verbindung 16"/>
          <p:cNvCxnSpPr/>
          <p:nvPr/>
        </p:nvCxnSpPr>
        <p:spPr>
          <a:xfrm>
            <a:off x="0" y="2492389"/>
            <a:ext cx="12192000" cy="0"/>
          </a:xfrm>
          <a:prstGeom prst="line">
            <a:avLst/>
          </a:prstGeom>
          <a:ln w="1270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Textplatzhalter 18"/>
          <p:cNvSpPr>
            <a:spLocks noGrp="1"/>
          </p:cNvSpPr>
          <p:nvPr>
            <p:ph type="body" sz="quarter" idx="11"/>
          </p:nvPr>
        </p:nvSpPr>
        <p:spPr>
          <a:xfrm>
            <a:off x="469106" y="2640129"/>
            <a:ext cx="5412316" cy="1477328"/>
          </a:xfrm>
        </p:spPr>
        <p:txBody>
          <a:bodyPr wrap="square">
            <a:spAutoFit/>
          </a:bodyPr>
          <a:lstStyle>
            <a:lvl1pPr marL="0" indent="0">
              <a:buNone/>
              <a:defRPr sz="4800">
                <a:solidFill>
                  <a:schemeClr val="bg1"/>
                </a:solidFill>
                <a:latin typeface="BISansCond" panose="02000006050000020004" pitchFamily="2" charset="0"/>
              </a:defRPr>
            </a:lvl1pPr>
          </a:lstStyle>
          <a:p>
            <a:pPr lvl="0"/>
            <a:r>
              <a:rPr lang="en-US" altLang="zh-TW" noProof="0"/>
              <a:t>Click to edit Master text styles</a:t>
            </a:r>
          </a:p>
        </p:txBody>
      </p:sp>
      <p:sp>
        <p:nvSpPr>
          <p:cNvPr id="20" name="Textplatzhalter 18"/>
          <p:cNvSpPr>
            <a:spLocks noGrp="1"/>
          </p:cNvSpPr>
          <p:nvPr>
            <p:ph type="body" sz="quarter" idx="12"/>
          </p:nvPr>
        </p:nvSpPr>
        <p:spPr>
          <a:xfrm>
            <a:off x="469105" y="3718148"/>
            <a:ext cx="3939523" cy="369332"/>
          </a:xfrm>
        </p:spPr>
        <p:txBody>
          <a:bodyPr wrap="square">
            <a:spAutoFit/>
          </a:bodyPr>
          <a:lstStyle>
            <a:lvl1pPr marL="0" indent="0">
              <a:buNone/>
              <a:defRPr sz="2400">
                <a:solidFill>
                  <a:schemeClr val="bg1"/>
                </a:solidFill>
                <a:latin typeface="BISansCond" panose="02000006050000020004" pitchFamily="2" charset="0"/>
              </a:defRPr>
            </a:lvl1pPr>
          </a:lstStyle>
          <a:p>
            <a:pPr lvl="0"/>
            <a:r>
              <a:rPr lang="en-US" altLang="zh-TW" noProof="0"/>
              <a:t>Click to edit Master text styles</a:t>
            </a:r>
          </a:p>
        </p:txBody>
      </p:sp>
      <p:cxnSp>
        <p:nvCxnSpPr>
          <p:cNvPr id="13" name="Gerade Verbindung 12"/>
          <p:cNvCxnSpPr/>
          <p:nvPr userDrawn="1"/>
        </p:nvCxnSpPr>
        <p:spPr>
          <a:xfrm>
            <a:off x="0" y="2492389"/>
            <a:ext cx="12192000" cy="0"/>
          </a:xfrm>
          <a:prstGeom prst="line">
            <a:avLst/>
          </a:prstGeom>
          <a:ln w="1270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Textplatzhalter 24"/>
          <p:cNvSpPr>
            <a:spLocks noGrp="1"/>
          </p:cNvSpPr>
          <p:nvPr>
            <p:ph type="body" sz="quarter" idx="14" hasCustomPrompt="1"/>
          </p:nvPr>
        </p:nvSpPr>
        <p:spPr>
          <a:xfrm>
            <a:off x="6088023" y="970175"/>
            <a:ext cx="3691200" cy="2768400"/>
          </a:xfrm>
          <a:prstGeom prst="ellipse">
            <a:avLst/>
          </a:prstGeom>
          <a:gradFill>
            <a:gsLst>
              <a:gs pos="0">
                <a:schemeClr val="bg1"/>
              </a:gs>
              <a:gs pos="100000">
                <a:schemeClr val="bg1">
                  <a:alpha val="59000"/>
                </a:schemeClr>
              </a:gs>
            </a:gsLst>
            <a:lin ang="9000000" scaled="0"/>
          </a:gradFill>
          <a:ln>
            <a:noFill/>
          </a:ln>
        </p:spPr>
        <p:txBody>
          <a:bodyPr anchor="ctr" anchorCtr="0"/>
          <a:lstStyle>
            <a:lvl1pPr marL="0" indent="0" algn="ctr">
              <a:spcBef>
                <a:spcPts val="0"/>
              </a:spcBef>
              <a:buNone/>
              <a:defRPr sz="2400">
                <a:solidFill>
                  <a:srgbClr val="003366"/>
                </a:solidFill>
                <a:latin typeface="BISansCond" panose="02000006050000020004" pitchFamily="2" charset="0"/>
              </a:defRPr>
            </a:lvl1pPr>
          </a:lstStyle>
          <a:p>
            <a:pPr lvl="0"/>
            <a:r>
              <a:rPr lang="en-GB" noProof="0" dirty="0" err="1"/>
              <a:t>Textmaster</a:t>
            </a:r>
            <a:r>
              <a:rPr lang="en-GB" noProof="0" dirty="0"/>
              <a:t>-format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  <p:sp>
        <p:nvSpPr>
          <p:cNvPr id="23" name="Bildplatzhalter 22"/>
          <p:cNvSpPr>
            <a:spLocks noGrp="1"/>
          </p:cNvSpPr>
          <p:nvPr>
            <p:ph type="pic" sz="quarter" idx="13"/>
          </p:nvPr>
        </p:nvSpPr>
        <p:spPr>
          <a:xfrm>
            <a:off x="5799691" y="3500533"/>
            <a:ext cx="3014400" cy="2260800"/>
          </a:xfrm>
          <a:prstGeom prst="ellipse">
            <a:avLst/>
          </a:prstGeom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n-US" altLang="zh-TW" noProof="0" dirty="0"/>
              <a:t>Click icon to add picture</a:t>
            </a:r>
            <a:endParaRPr lang="en-GB" noProof="0" dirty="0"/>
          </a:p>
        </p:txBody>
      </p: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26260" y="6120399"/>
            <a:ext cx="1679601" cy="381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20138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ircle segment_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 userDrawn="1"/>
        </p:nvSpPr>
        <p:spPr>
          <a:xfrm>
            <a:off x="0" y="2928494"/>
            <a:ext cx="12192000" cy="3929507"/>
          </a:xfrm>
          <a:prstGeom prst="rect">
            <a:avLst/>
          </a:prstGeom>
          <a:gradFill>
            <a:gsLst>
              <a:gs pos="0">
                <a:srgbClr val="6699CC">
                  <a:alpha val="40000"/>
                </a:srgbClr>
              </a:gs>
              <a:gs pos="100000">
                <a:srgbClr val="FFFFFF"/>
              </a:gs>
            </a:gsLst>
            <a:lin ang="162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sz="1400" noProof="0" dirty="0">
              <a:solidFill>
                <a:schemeClr val="tx1"/>
              </a:solidFill>
              <a:latin typeface="BISansOpti"/>
            </a:endParaRPr>
          </a:p>
        </p:txBody>
      </p:sp>
      <p:cxnSp>
        <p:nvCxnSpPr>
          <p:cNvPr id="5" name="Gerade Verbindung 4"/>
          <p:cNvCxnSpPr/>
          <p:nvPr userDrawn="1"/>
        </p:nvCxnSpPr>
        <p:spPr>
          <a:xfrm>
            <a:off x="0" y="971453"/>
            <a:ext cx="12192000" cy="0"/>
          </a:xfrm>
          <a:prstGeom prst="line">
            <a:avLst/>
          </a:prstGeom>
          <a:ln w="12700">
            <a:solidFill>
              <a:srgbClr val="0033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076BDC-3EDE-480E-A94B-AE4EF24075F7}" type="datetime1">
              <a:rPr lang="en-GB" smtClean="0"/>
              <a:t>14/12/2021</a:t>
            </a:fld>
            <a:endParaRPr lang="en-GB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CMD T.C.M. / MCM</a:t>
            </a:r>
            <a:endParaRPr lang="en-GB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3B55C4-4F5A-416B-997D-6CE47EB0A94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" name="Rechteck 12"/>
          <p:cNvSpPr/>
          <p:nvPr userDrawn="1"/>
        </p:nvSpPr>
        <p:spPr>
          <a:xfrm>
            <a:off x="5" y="980018"/>
            <a:ext cx="4897308" cy="5281083"/>
          </a:xfrm>
          <a:custGeom>
            <a:avLst/>
            <a:gdLst/>
            <a:ahLst/>
            <a:cxnLst/>
            <a:rect l="l" t="t" r="r" b="b"/>
            <a:pathLst>
              <a:path w="3672981" h="3960812">
                <a:moveTo>
                  <a:pt x="0" y="0"/>
                </a:moveTo>
                <a:lnTo>
                  <a:pt x="3361658" y="0"/>
                </a:lnTo>
                <a:lnTo>
                  <a:pt x="3412473" y="127738"/>
                </a:lnTo>
                <a:cubicBezTo>
                  <a:pt x="3581102" y="597230"/>
                  <a:pt x="3672981" y="1103310"/>
                  <a:pt x="3672981" y="1630850"/>
                </a:cubicBezTo>
                <a:cubicBezTo>
                  <a:pt x="3672981" y="2378998"/>
                  <a:pt x="3488190" y="3083985"/>
                  <a:pt x="3161761" y="3702659"/>
                </a:cubicBezTo>
                <a:lnTo>
                  <a:pt x="3012298" y="3960812"/>
                </a:lnTo>
                <a:lnTo>
                  <a:pt x="0" y="3960812"/>
                </a:lnTo>
                <a:close/>
              </a:path>
            </a:pathLst>
          </a:custGeom>
          <a:solidFill>
            <a:schemeClr val="accent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sz="1400" dirty="0" err="1">
              <a:solidFill>
                <a:schemeClr val="tx1"/>
              </a:solidFill>
              <a:latin typeface="BISansOpti"/>
            </a:endParaRPr>
          </a:p>
        </p:txBody>
      </p:sp>
      <p:sp>
        <p:nvSpPr>
          <p:cNvPr id="11" name="Bildplatzhalter 20"/>
          <p:cNvSpPr>
            <a:spLocks noGrp="1"/>
          </p:cNvSpPr>
          <p:nvPr>
            <p:ph type="pic" sz="quarter" idx="13"/>
          </p:nvPr>
        </p:nvSpPr>
        <p:spPr>
          <a:xfrm>
            <a:off x="-1" y="974967"/>
            <a:ext cx="4772191" cy="5284233"/>
          </a:xfrm>
          <a:custGeom>
            <a:avLst/>
            <a:gdLst>
              <a:gd name="connsiteX0" fmla="*/ 0 w 3582000"/>
              <a:gd name="connsiteY0" fmla="*/ 0 h 3960000"/>
              <a:gd name="connsiteX1" fmla="*/ 1791000 w 3582000"/>
              <a:gd name="connsiteY1" fmla="*/ 0 h 3960000"/>
              <a:gd name="connsiteX2" fmla="*/ 3582000 w 3582000"/>
              <a:gd name="connsiteY2" fmla="*/ 1980000 h 3960000"/>
              <a:gd name="connsiteX3" fmla="*/ 1791000 w 3582000"/>
              <a:gd name="connsiteY3" fmla="*/ 3960000 h 3960000"/>
              <a:gd name="connsiteX4" fmla="*/ 0 w 3582000"/>
              <a:gd name="connsiteY4" fmla="*/ 3960000 h 3960000"/>
              <a:gd name="connsiteX5" fmla="*/ 0 w 3582000"/>
              <a:gd name="connsiteY5" fmla="*/ 0 h 3960000"/>
              <a:gd name="connsiteX0" fmla="*/ 0 w 3669107"/>
              <a:gd name="connsiteY0" fmla="*/ 0 h 3960000"/>
              <a:gd name="connsiteX1" fmla="*/ 1791000 w 3669107"/>
              <a:gd name="connsiteY1" fmla="*/ 0 h 3960000"/>
              <a:gd name="connsiteX2" fmla="*/ 3225219 w 3669107"/>
              <a:gd name="connsiteY2" fmla="*/ 807894 h 3960000"/>
              <a:gd name="connsiteX3" fmla="*/ 3582000 w 3669107"/>
              <a:gd name="connsiteY3" fmla="*/ 1980000 h 3960000"/>
              <a:gd name="connsiteX4" fmla="*/ 1791000 w 3669107"/>
              <a:gd name="connsiteY4" fmla="*/ 3960000 h 3960000"/>
              <a:gd name="connsiteX5" fmla="*/ 0 w 3669107"/>
              <a:gd name="connsiteY5" fmla="*/ 3960000 h 3960000"/>
              <a:gd name="connsiteX6" fmla="*/ 0 w 3669107"/>
              <a:gd name="connsiteY6" fmla="*/ 0 h 3960000"/>
              <a:gd name="connsiteX0" fmla="*/ 0 w 3597300"/>
              <a:gd name="connsiteY0" fmla="*/ 0 h 3960000"/>
              <a:gd name="connsiteX1" fmla="*/ 1791000 w 3597300"/>
              <a:gd name="connsiteY1" fmla="*/ 0 h 3960000"/>
              <a:gd name="connsiteX2" fmla="*/ 3225219 w 3597300"/>
              <a:gd name="connsiteY2" fmla="*/ 807894 h 3960000"/>
              <a:gd name="connsiteX3" fmla="*/ 3582000 w 3597300"/>
              <a:gd name="connsiteY3" fmla="*/ 1980000 h 3960000"/>
              <a:gd name="connsiteX4" fmla="*/ 2862382 w 3597300"/>
              <a:gd name="connsiteY4" fmla="*/ 3307821 h 3960000"/>
              <a:gd name="connsiteX5" fmla="*/ 1791000 w 3597300"/>
              <a:gd name="connsiteY5" fmla="*/ 3960000 h 3960000"/>
              <a:gd name="connsiteX6" fmla="*/ 0 w 3597300"/>
              <a:gd name="connsiteY6" fmla="*/ 3960000 h 3960000"/>
              <a:gd name="connsiteX7" fmla="*/ 0 w 3597300"/>
              <a:gd name="connsiteY7" fmla="*/ 0 h 3960000"/>
              <a:gd name="connsiteX0" fmla="*/ 0 w 3597300"/>
              <a:gd name="connsiteY0" fmla="*/ 0 h 3960000"/>
              <a:gd name="connsiteX1" fmla="*/ 3261025 w 3597300"/>
              <a:gd name="connsiteY1" fmla="*/ 3175 h 3960000"/>
              <a:gd name="connsiteX2" fmla="*/ 3225219 w 3597300"/>
              <a:gd name="connsiteY2" fmla="*/ 807894 h 3960000"/>
              <a:gd name="connsiteX3" fmla="*/ 3582000 w 3597300"/>
              <a:gd name="connsiteY3" fmla="*/ 1980000 h 3960000"/>
              <a:gd name="connsiteX4" fmla="*/ 2862382 w 3597300"/>
              <a:gd name="connsiteY4" fmla="*/ 3307821 h 3960000"/>
              <a:gd name="connsiteX5" fmla="*/ 1791000 w 3597300"/>
              <a:gd name="connsiteY5" fmla="*/ 3960000 h 3960000"/>
              <a:gd name="connsiteX6" fmla="*/ 0 w 3597300"/>
              <a:gd name="connsiteY6" fmla="*/ 3960000 h 3960000"/>
              <a:gd name="connsiteX7" fmla="*/ 0 w 3597300"/>
              <a:gd name="connsiteY7" fmla="*/ 0 h 3960000"/>
              <a:gd name="connsiteX0" fmla="*/ 0 w 3597300"/>
              <a:gd name="connsiteY0" fmla="*/ 0 h 3960000"/>
              <a:gd name="connsiteX1" fmla="*/ 3019725 w 3597300"/>
              <a:gd name="connsiteY1" fmla="*/ 282575 h 3960000"/>
              <a:gd name="connsiteX2" fmla="*/ 3225219 w 3597300"/>
              <a:gd name="connsiteY2" fmla="*/ 807894 h 3960000"/>
              <a:gd name="connsiteX3" fmla="*/ 3582000 w 3597300"/>
              <a:gd name="connsiteY3" fmla="*/ 1980000 h 3960000"/>
              <a:gd name="connsiteX4" fmla="*/ 2862382 w 3597300"/>
              <a:gd name="connsiteY4" fmla="*/ 3307821 h 3960000"/>
              <a:gd name="connsiteX5" fmla="*/ 1791000 w 3597300"/>
              <a:gd name="connsiteY5" fmla="*/ 3960000 h 3960000"/>
              <a:gd name="connsiteX6" fmla="*/ 0 w 3597300"/>
              <a:gd name="connsiteY6" fmla="*/ 3960000 h 3960000"/>
              <a:gd name="connsiteX7" fmla="*/ 0 w 3597300"/>
              <a:gd name="connsiteY7" fmla="*/ 0 h 3960000"/>
              <a:gd name="connsiteX0" fmla="*/ 0 w 3597300"/>
              <a:gd name="connsiteY0" fmla="*/ 3175 h 3963175"/>
              <a:gd name="connsiteX1" fmla="*/ 3264200 w 3597300"/>
              <a:gd name="connsiteY1" fmla="*/ 0 h 3963175"/>
              <a:gd name="connsiteX2" fmla="*/ 3225219 w 3597300"/>
              <a:gd name="connsiteY2" fmla="*/ 811069 h 3963175"/>
              <a:gd name="connsiteX3" fmla="*/ 3582000 w 3597300"/>
              <a:gd name="connsiteY3" fmla="*/ 1983175 h 3963175"/>
              <a:gd name="connsiteX4" fmla="*/ 2862382 w 3597300"/>
              <a:gd name="connsiteY4" fmla="*/ 3310996 h 3963175"/>
              <a:gd name="connsiteX5" fmla="*/ 1791000 w 3597300"/>
              <a:gd name="connsiteY5" fmla="*/ 3963175 h 3963175"/>
              <a:gd name="connsiteX6" fmla="*/ 0 w 3597300"/>
              <a:gd name="connsiteY6" fmla="*/ 3963175 h 3963175"/>
              <a:gd name="connsiteX7" fmla="*/ 0 w 3597300"/>
              <a:gd name="connsiteY7" fmla="*/ 3175 h 3963175"/>
              <a:gd name="connsiteX0" fmla="*/ 0 w 3597300"/>
              <a:gd name="connsiteY0" fmla="*/ 3175 h 3963175"/>
              <a:gd name="connsiteX1" fmla="*/ 3264200 w 3597300"/>
              <a:gd name="connsiteY1" fmla="*/ 0 h 3963175"/>
              <a:gd name="connsiteX2" fmla="*/ 3225219 w 3597300"/>
              <a:gd name="connsiteY2" fmla="*/ 811069 h 3963175"/>
              <a:gd name="connsiteX3" fmla="*/ 3582000 w 3597300"/>
              <a:gd name="connsiteY3" fmla="*/ 1983175 h 3963175"/>
              <a:gd name="connsiteX4" fmla="*/ 2862382 w 3597300"/>
              <a:gd name="connsiteY4" fmla="*/ 3310996 h 3963175"/>
              <a:gd name="connsiteX5" fmla="*/ 1791000 w 3597300"/>
              <a:gd name="connsiteY5" fmla="*/ 3963175 h 3963175"/>
              <a:gd name="connsiteX6" fmla="*/ 0 w 3597300"/>
              <a:gd name="connsiteY6" fmla="*/ 3963175 h 3963175"/>
              <a:gd name="connsiteX7" fmla="*/ 0 w 3597300"/>
              <a:gd name="connsiteY7" fmla="*/ 3175 h 3963175"/>
              <a:gd name="connsiteX0" fmla="*/ 0 w 3616616"/>
              <a:gd name="connsiteY0" fmla="*/ 21630 h 3981630"/>
              <a:gd name="connsiteX1" fmla="*/ 3264200 w 3616616"/>
              <a:gd name="connsiteY1" fmla="*/ 18455 h 3981630"/>
              <a:gd name="connsiteX2" fmla="*/ 3323644 w 3616616"/>
              <a:gd name="connsiteY2" fmla="*/ 184999 h 3981630"/>
              <a:gd name="connsiteX3" fmla="*/ 3582000 w 3616616"/>
              <a:gd name="connsiteY3" fmla="*/ 2001630 h 3981630"/>
              <a:gd name="connsiteX4" fmla="*/ 2862382 w 3616616"/>
              <a:gd name="connsiteY4" fmla="*/ 3329451 h 3981630"/>
              <a:gd name="connsiteX5" fmla="*/ 1791000 w 3616616"/>
              <a:gd name="connsiteY5" fmla="*/ 3981630 h 3981630"/>
              <a:gd name="connsiteX6" fmla="*/ 0 w 3616616"/>
              <a:gd name="connsiteY6" fmla="*/ 3981630 h 3981630"/>
              <a:gd name="connsiteX7" fmla="*/ 0 w 3616616"/>
              <a:gd name="connsiteY7" fmla="*/ 21630 h 3981630"/>
              <a:gd name="connsiteX0" fmla="*/ 0 w 3616616"/>
              <a:gd name="connsiteY0" fmla="*/ 3175 h 3963175"/>
              <a:gd name="connsiteX1" fmla="*/ 3264200 w 3616616"/>
              <a:gd name="connsiteY1" fmla="*/ 0 h 3963175"/>
              <a:gd name="connsiteX2" fmla="*/ 3323644 w 3616616"/>
              <a:gd name="connsiteY2" fmla="*/ 166544 h 3963175"/>
              <a:gd name="connsiteX3" fmla="*/ 3582000 w 3616616"/>
              <a:gd name="connsiteY3" fmla="*/ 1983175 h 3963175"/>
              <a:gd name="connsiteX4" fmla="*/ 2862382 w 3616616"/>
              <a:gd name="connsiteY4" fmla="*/ 3310996 h 3963175"/>
              <a:gd name="connsiteX5" fmla="*/ 1791000 w 3616616"/>
              <a:gd name="connsiteY5" fmla="*/ 3963175 h 3963175"/>
              <a:gd name="connsiteX6" fmla="*/ 0 w 3616616"/>
              <a:gd name="connsiteY6" fmla="*/ 3963175 h 3963175"/>
              <a:gd name="connsiteX7" fmla="*/ 0 w 3616616"/>
              <a:gd name="connsiteY7" fmla="*/ 3175 h 3963175"/>
              <a:gd name="connsiteX0" fmla="*/ 0 w 3601265"/>
              <a:gd name="connsiteY0" fmla="*/ 3175 h 3963175"/>
              <a:gd name="connsiteX1" fmla="*/ 3264200 w 3601265"/>
              <a:gd name="connsiteY1" fmla="*/ 0 h 3963175"/>
              <a:gd name="connsiteX2" fmla="*/ 3323644 w 3601265"/>
              <a:gd name="connsiteY2" fmla="*/ 166544 h 3963175"/>
              <a:gd name="connsiteX3" fmla="*/ 3582000 w 3601265"/>
              <a:gd name="connsiteY3" fmla="*/ 1983175 h 3963175"/>
              <a:gd name="connsiteX4" fmla="*/ 2862382 w 3601265"/>
              <a:gd name="connsiteY4" fmla="*/ 3310996 h 3963175"/>
              <a:gd name="connsiteX5" fmla="*/ 1791000 w 3601265"/>
              <a:gd name="connsiteY5" fmla="*/ 3963175 h 3963175"/>
              <a:gd name="connsiteX6" fmla="*/ 0 w 3601265"/>
              <a:gd name="connsiteY6" fmla="*/ 3963175 h 3963175"/>
              <a:gd name="connsiteX7" fmla="*/ 0 w 3601265"/>
              <a:gd name="connsiteY7" fmla="*/ 3175 h 3963175"/>
              <a:gd name="connsiteX0" fmla="*/ 0 w 3364734"/>
              <a:gd name="connsiteY0" fmla="*/ 3175 h 3963175"/>
              <a:gd name="connsiteX1" fmla="*/ 3264200 w 3364734"/>
              <a:gd name="connsiteY1" fmla="*/ 0 h 3963175"/>
              <a:gd name="connsiteX2" fmla="*/ 3323644 w 3364734"/>
              <a:gd name="connsiteY2" fmla="*/ 166544 h 3963175"/>
              <a:gd name="connsiteX3" fmla="*/ 3016850 w 3364734"/>
              <a:gd name="connsiteY3" fmla="*/ 1614875 h 3963175"/>
              <a:gd name="connsiteX4" fmla="*/ 2862382 w 3364734"/>
              <a:gd name="connsiteY4" fmla="*/ 3310996 h 3963175"/>
              <a:gd name="connsiteX5" fmla="*/ 1791000 w 3364734"/>
              <a:gd name="connsiteY5" fmla="*/ 3963175 h 3963175"/>
              <a:gd name="connsiteX6" fmla="*/ 0 w 3364734"/>
              <a:gd name="connsiteY6" fmla="*/ 3963175 h 3963175"/>
              <a:gd name="connsiteX7" fmla="*/ 0 w 3364734"/>
              <a:gd name="connsiteY7" fmla="*/ 3175 h 3963175"/>
              <a:gd name="connsiteX0" fmla="*/ 0 w 3598344"/>
              <a:gd name="connsiteY0" fmla="*/ 3175 h 3963175"/>
              <a:gd name="connsiteX1" fmla="*/ 3264200 w 3598344"/>
              <a:gd name="connsiteY1" fmla="*/ 0 h 3963175"/>
              <a:gd name="connsiteX2" fmla="*/ 3323644 w 3598344"/>
              <a:gd name="connsiteY2" fmla="*/ 166544 h 3963175"/>
              <a:gd name="connsiteX3" fmla="*/ 3578825 w 3598344"/>
              <a:gd name="connsiteY3" fmla="*/ 1640275 h 3963175"/>
              <a:gd name="connsiteX4" fmla="*/ 2862382 w 3598344"/>
              <a:gd name="connsiteY4" fmla="*/ 3310996 h 3963175"/>
              <a:gd name="connsiteX5" fmla="*/ 1791000 w 3598344"/>
              <a:gd name="connsiteY5" fmla="*/ 3963175 h 3963175"/>
              <a:gd name="connsiteX6" fmla="*/ 0 w 3598344"/>
              <a:gd name="connsiteY6" fmla="*/ 3963175 h 3963175"/>
              <a:gd name="connsiteX7" fmla="*/ 0 w 3598344"/>
              <a:gd name="connsiteY7" fmla="*/ 3175 h 3963175"/>
              <a:gd name="connsiteX0" fmla="*/ 0 w 3612056"/>
              <a:gd name="connsiteY0" fmla="*/ 3175 h 3963175"/>
              <a:gd name="connsiteX1" fmla="*/ 3264200 w 3612056"/>
              <a:gd name="connsiteY1" fmla="*/ 0 h 3963175"/>
              <a:gd name="connsiteX2" fmla="*/ 3323644 w 3612056"/>
              <a:gd name="connsiteY2" fmla="*/ 166544 h 3963175"/>
              <a:gd name="connsiteX3" fmla="*/ 3578825 w 3612056"/>
              <a:gd name="connsiteY3" fmla="*/ 1640275 h 3963175"/>
              <a:gd name="connsiteX4" fmla="*/ 2862382 w 3612056"/>
              <a:gd name="connsiteY4" fmla="*/ 3310996 h 3963175"/>
              <a:gd name="connsiteX5" fmla="*/ 1791000 w 3612056"/>
              <a:gd name="connsiteY5" fmla="*/ 3963175 h 3963175"/>
              <a:gd name="connsiteX6" fmla="*/ 0 w 3612056"/>
              <a:gd name="connsiteY6" fmla="*/ 3963175 h 3963175"/>
              <a:gd name="connsiteX7" fmla="*/ 0 w 3612056"/>
              <a:gd name="connsiteY7" fmla="*/ 3175 h 3963175"/>
              <a:gd name="connsiteX0" fmla="*/ 0 w 3635528"/>
              <a:gd name="connsiteY0" fmla="*/ 3175 h 3963175"/>
              <a:gd name="connsiteX1" fmla="*/ 3264200 w 3635528"/>
              <a:gd name="connsiteY1" fmla="*/ 0 h 3963175"/>
              <a:gd name="connsiteX2" fmla="*/ 3323644 w 3635528"/>
              <a:gd name="connsiteY2" fmla="*/ 166544 h 3963175"/>
              <a:gd name="connsiteX3" fmla="*/ 3578825 w 3635528"/>
              <a:gd name="connsiteY3" fmla="*/ 1640275 h 3963175"/>
              <a:gd name="connsiteX4" fmla="*/ 2862382 w 3635528"/>
              <a:gd name="connsiteY4" fmla="*/ 3310996 h 3963175"/>
              <a:gd name="connsiteX5" fmla="*/ 1791000 w 3635528"/>
              <a:gd name="connsiteY5" fmla="*/ 3963175 h 3963175"/>
              <a:gd name="connsiteX6" fmla="*/ 0 w 3635528"/>
              <a:gd name="connsiteY6" fmla="*/ 3963175 h 3963175"/>
              <a:gd name="connsiteX7" fmla="*/ 0 w 3635528"/>
              <a:gd name="connsiteY7" fmla="*/ 3175 h 3963175"/>
              <a:gd name="connsiteX0" fmla="*/ 0 w 3578828"/>
              <a:gd name="connsiteY0" fmla="*/ 3175 h 3963175"/>
              <a:gd name="connsiteX1" fmla="*/ 3264200 w 3578828"/>
              <a:gd name="connsiteY1" fmla="*/ 0 h 3963175"/>
              <a:gd name="connsiteX2" fmla="*/ 3323644 w 3578828"/>
              <a:gd name="connsiteY2" fmla="*/ 166544 h 3963175"/>
              <a:gd name="connsiteX3" fmla="*/ 3578825 w 3578828"/>
              <a:gd name="connsiteY3" fmla="*/ 1640275 h 3963175"/>
              <a:gd name="connsiteX4" fmla="*/ 2862382 w 3578828"/>
              <a:gd name="connsiteY4" fmla="*/ 3310996 h 3963175"/>
              <a:gd name="connsiteX5" fmla="*/ 1791000 w 3578828"/>
              <a:gd name="connsiteY5" fmla="*/ 3963175 h 3963175"/>
              <a:gd name="connsiteX6" fmla="*/ 0 w 3578828"/>
              <a:gd name="connsiteY6" fmla="*/ 3963175 h 3963175"/>
              <a:gd name="connsiteX7" fmla="*/ 0 w 3578828"/>
              <a:gd name="connsiteY7" fmla="*/ 3175 h 3963175"/>
              <a:gd name="connsiteX0" fmla="*/ 0 w 3578942"/>
              <a:gd name="connsiteY0" fmla="*/ 3175 h 3963175"/>
              <a:gd name="connsiteX1" fmla="*/ 3264200 w 3578942"/>
              <a:gd name="connsiteY1" fmla="*/ 0 h 3963175"/>
              <a:gd name="connsiteX2" fmla="*/ 3323644 w 3578942"/>
              <a:gd name="connsiteY2" fmla="*/ 166544 h 3963175"/>
              <a:gd name="connsiteX3" fmla="*/ 3578825 w 3578942"/>
              <a:gd name="connsiteY3" fmla="*/ 1640275 h 3963175"/>
              <a:gd name="connsiteX4" fmla="*/ 2862382 w 3578942"/>
              <a:gd name="connsiteY4" fmla="*/ 3310996 h 3963175"/>
              <a:gd name="connsiteX5" fmla="*/ 1791000 w 3578942"/>
              <a:gd name="connsiteY5" fmla="*/ 3963175 h 3963175"/>
              <a:gd name="connsiteX6" fmla="*/ 0 w 3578942"/>
              <a:gd name="connsiteY6" fmla="*/ 3963175 h 3963175"/>
              <a:gd name="connsiteX7" fmla="*/ 0 w 3578942"/>
              <a:gd name="connsiteY7" fmla="*/ 3175 h 3963175"/>
              <a:gd name="connsiteX0" fmla="*/ 0 w 3578942"/>
              <a:gd name="connsiteY0" fmla="*/ 3175 h 3963175"/>
              <a:gd name="connsiteX1" fmla="*/ 3264200 w 3578942"/>
              <a:gd name="connsiteY1" fmla="*/ 0 h 3963175"/>
              <a:gd name="connsiteX2" fmla="*/ 3323644 w 3578942"/>
              <a:gd name="connsiteY2" fmla="*/ 166544 h 3963175"/>
              <a:gd name="connsiteX3" fmla="*/ 3578825 w 3578942"/>
              <a:gd name="connsiteY3" fmla="*/ 1640275 h 3963175"/>
              <a:gd name="connsiteX4" fmla="*/ 2862382 w 3578942"/>
              <a:gd name="connsiteY4" fmla="*/ 3310996 h 3963175"/>
              <a:gd name="connsiteX5" fmla="*/ 1791000 w 3578942"/>
              <a:gd name="connsiteY5" fmla="*/ 3963175 h 3963175"/>
              <a:gd name="connsiteX6" fmla="*/ 0 w 3578942"/>
              <a:gd name="connsiteY6" fmla="*/ 3963175 h 3963175"/>
              <a:gd name="connsiteX7" fmla="*/ 0 w 3578942"/>
              <a:gd name="connsiteY7" fmla="*/ 3175 h 3963175"/>
              <a:gd name="connsiteX0" fmla="*/ 0 w 3590408"/>
              <a:gd name="connsiteY0" fmla="*/ 3175 h 3974831"/>
              <a:gd name="connsiteX1" fmla="*/ 3264200 w 3590408"/>
              <a:gd name="connsiteY1" fmla="*/ 0 h 3974831"/>
              <a:gd name="connsiteX2" fmla="*/ 3323644 w 3590408"/>
              <a:gd name="connsiteY2" fmla="*/ 166544 h 3974831"/>
              <a:gd name="connsiteX3" fmla="*/ 3578825 w 3590408"/>
              <a:gd name="connsiteY3" fmla="*/ 1640275 h 3974831"/>
              <a:gd name="connsiteX4" fmla="*/ 3002082 w 3590408"/>
              <a:gd name="connsiteY4" fmla="*/ 3809471 h 3974831"/>
              <a:gd name="connsiteX5" fmla="*/ 1791000 w 3590408"/>
              <a:gd name="connsiteY5" fmla="*/ 3963175 h 3974831"/>
              <a:gd name="connsiteX6" fmla="*/ 0 w 3590408"/>
              <a:gd name="connsiteY6" fmla="*/ 3963175 h 3974831"/>
              <a:gd name="connsiteX7" fmla="*/ 0 w 3590408"/>
              <a:gd name="connsiteY7" fmla="*/ 3175 h 3974831"/>
              <a:gd name="connsiteX0" fmla="*/ 0 w 3590408"/>
              <a:gd name="connsiteY0" fmla="*/ 3175 h 3974831"/>
              <a:gd name="connsiteX1" fmla="*/ 3264200 w 3590408"/>
              <a:gd name="connsiteY1" fmla="*/ 0 h 3974831"/>
              <a:gd name="connsiteX2" fmla="*/ 3323644 w 3590408"/>
              <a:gd name="connsiteY2" fmla="*/ 166544 h 3974831"/>
              <a:gd name="connsiteX3" fmla="*/ 3578825 w 3590408"/>
              <a:gd name="connsiteY3" fmla="*/ 1640275 h 3974831"/>
              <a:gd name="connsiteX4" fmla="*/ 3002082 w 3590408"/>
              <a:gd name="connsiteY4" fmla="*/ 3809471 h 3974831"/>
              <a:gd name="connsiteX5" fmla="*/ 1791000 w 3590408"/>
              <a:gd name="connsiteY5" fmla="*/ 3963175 h 3974831"/>
              <a:gd name="connsiteX6" fmla="*/ 0 w 3590408"/>
              <a:gd name="connsiteY6" fmla="*/ 3963175 h 3974831"/>
              <a:gd name="connsiteX7" fmla="*/ 0 w 3590408"/>
              <a:gd name="connsiteY7" fmla="*/ 3175 h 3974831"/>
              <a:gd name="connsiteX0" fmla="*/ 0 w 3590408"/>
              <a:gd name="connsiteY0" fmla="*/ 3175 h 3975950"/>
              <a:gd name="connsiteX1" fmla="*/ 3264200 w 3590408"/>
              <a:gd name="connsiteY1" fmla="*/ 0 h 3975950"/>
              <a:gd name="connsiteX2" fmla="*/ 3323644 w 3590408"/>
              <a:gd name="connsiteY2" fmla="*/ 166544 h 3975950"/>
              <a:gd name="connsiteX3" fmla="*/ 3578825 w 3590408"/>
              <a:gd name="connsiteY3" fmla="*/ 1640275 h 3975950"/>
              <a:gd name="connsiteX4" fmla="*/ 3002082 w 3590408"/>
              <a:gd name="connsiteY4" fmla="*/ 3809471 h 3975950"/>
              <a:gd name="connsiteX5" fmla="*/ 2908600 w 3590408"/>
              <a:gd name="connsiteY5" fmla="*/ 3966350 h 3975950"/>
              <a:gd name="connsiteX6" fmla="*/ 0 w 3590408"/>
              <a:gd name="connsiteY6" fmla="*/ 3963175 h 3975950"/>
              <a:gd name="connsiteX7" fmla="*/ 0 w 3590408"/>
              <a:gd name="connsiteY7" fmla="*/ 3175 h 3975950"/>
              <a:gd name="connsiteX0" fmla="*/ 0 w 3590408"/>
              <a:gd name="connsiteY0" fmla="*/ 3175 h 3966350"/>
              <a:gd name="connsiteX1" fmla="*/ 3264200 w 3590408"/>
              <a:gd name="connsiteY1" fmla="*/ 0 h 3966350"/>
              <a:gd name="connsiteX2" fmla="*/ 3323644 w 3590408"/>
              <a:gd name="connsiteY2" fmla="*/ 166544 h 3966350"/>
              <a:gd name="connsiteX3" fmla="*/ 3578825 w 3590408"/>
              <a:gd name="connsiteY3" fmla="*/ 1640275 h 3966350"/>
              <a:gd name="connsiteX4" fmla="*/ 3002082 w 3590408"/>
              <a:gd name="connsiteY4" fmla="*/ 3809471 h 3966350"/>
              <a:gd name="connsiteX5" fmla="*/ 2908600 w 3590408"/>
              <a:gd name="connsiteY5" fmla="*/ 3966350 h 3966350"/>
              <a:gd name="connsiteX6" fmla="*/ 0 w 3590408"/>
              <a:gd name="connsiteY6" fmla="*/ 3963175 h 3966350"/>
              <a:gd name="connsiteX7" fmla="*/ 0 w 3590408"/>
              <a:gd name="connsiteY7" fmla="*/ 3175 h 3966350"/>
              <a:gd name="connsiteX0" fmla="*/ 0 w 3590408"/>
              <a:gd name="connsiteY0" fmla="*/ 3175 h 3966350"/>
              <a:gd name="connsiteX1" fmla="*/ 3264200 w 3590408"/>
              <a:gd name="connsiteY1" fmla="*/ 0 h 3966350"/>
              <a:gd name="connsiteX2" fmla="*/ 3323644 w 3590408"/>
              <a:gd name="connsiteY2" fmla="*/ 166544 h 3966350"/>
              <a:gd name="connsiteX3" fmla="*/ 3578825 w 3590408"/>
              <a:gd name="connsiteY3" fmla="*/ 1640275 h 3966350"/>
              <a:gd name="connsiteX4" fmla="*/ 3002082 w 3590408"/>
              <a:gd name="connsiteY4" fmla="*/ 3809471 h 3966350"/>
              <a:gd name="connsiteX5" fmla="*/ 2908600 w 3590408"/>
              <a:gd name="connsiteY5" fmla="*/ 3966350 h 3966350"/>
              <a:gd name="connsiteX6" fmla="*/ 0 w 3590408"/>
              <a:gd name="connsiteY6" fmla="*/ 3963175 h 3966350"/>
              <a:gd name="connsiteX7" fmla="*/ 0 w 3590408"/>
              <a:gd name="connsiteY7" fmla="*/ 3175 h 3966350"/>
              <a:gd name="connsiteX0" fmla="*/ 0 w 3590408"/>
              <a:gd name="connsiteY0" fmla="*/ 3175 h 3966350"/>
              <a:gd name="connsiteX1" fmla="*/ 3264200 w 3590408"/>
              <a:gd name="connsiteY1" fmla="*/ 0 h 3966350"/>
              <a:gd name="connsiteX2" fmla="*/ 3323644 w 3590408"/>
              <a:gd name="connsiteY2" fmla="*/ 166544 h 3966350"/>
              <a:gd name="connsiteX3" fmla="*/ 3578825 w 3590408"/>
              <a:gd name="connsiteY3" fmla="*/ 1640275 h 3966350"/>
              <a:gd name="connsiteX4" fmla="*/ 3002082 w 3590408"/>
              <a:gd name="connsiteY4" fmla="*/ 3809471 h 3966350"/>
              <a:gd name="connsiteX5" fmla="*/ 2908600 w 3590408"/>
              <a:gd name="connsiteY5" fmla="*/ 3966350 h 3966350"/>
              <a:gd name="connsiteX6" fmla="*/ 0 w 3590408"/>
              <a:gd name="connsiteY6" fmla="*/ 3963175 h 3966350"/>
              <a:gd name="connsiteX7" fmla="*/ 0 w 3590408"/>
              <a:gd name="connsiteY7" fmla="*/ 3175 h 3966350"/>
              <a:gd name="connsiteX0" fmla="*/ 0 w 3580367"/>
              <a:gd name="connsiteY0" fmla="*/ 3175 h 3966350"/>
              <a:gd name="connsiteX1" fmla="*/ 3264200 w 3580367"/>
              <a:gd name="connsiteY1" fmla="*/ 0 h 3966350"/>
              <a:gd name="connsiteX2" fmla="*/ 3323644 w 3580367"/>
              <a:gd name="connsiteY2" fmla="*/ 166544 h 3966350"/>
              <a:gd name="connsiteX3" fmla="*/ 3578825 w 3580367"/>
              <a:gd name="connsiteY3" fmla="*/ 1640275 h 3966350"/>
              <a:gd name="connsiteX4" fmla="*/ 3002082 w 3580367"/>
              <a:gd name="connsiteY4" fmla="*/ 3809471 h 3966350"/>
              <a:gd name="connsiteX5" fmla="*/ 2908600 w 3580367"/>
              <a:gd name="connsiteY5" fmla="*/ 3966350 h 3966350"/>
              <a:gd name="connsiteX6" fmla="*/ 0 w 3580367"/>
              <a:gd name="connsiteY6" fmla="*/ 3963175 h 3966350"/>
              <a:gd name="connsiteX7" fmla="*/ 0 w 3580367"/>
              <a:gd name="connsiteY7" fmla="*/ 3175 h 3966350"/>
              <a:gd name="connsiteX0" fmla="*/ 0 w 3578976"/>
              <a:gd name="connsiteY0" fmla="*/ 3175 h 3966350"/>
              <a:gd name="connsiteX1" fmla="*/ 3264200 w 3578976"/>
              <a:gd name="connsiteY1" fmla="*/ 0 h 3966350"/>
              <a:gd name="connsiteX2" fmla="*/ 3323644 w 3578976"/>
              <a:gd name="connsiteY2" fmla="*/ 166544 h 3966350"/>
              <a:gd name="connsiteX3" fmla="*/ 3578825 w 3578976"/>
              <a:gd name="connsiteY3" fmla="*/ 1640275 h 3966350"/>
              <a:gd name="connsiteX4" fmla="*/ 3002082 w 3578976"/>
              <a:gd name="connsiteY4" fmla="*/ 3809471 h 3966350"/>
              <a:gd name="connsiteX5" fmla="*/ 2908600 w 3578976"/>
              <a:gd name="connsiteY5" fmla="*/ 3966350 h 3966350"/>
              <a:gd name="connsiteX6" fmla="*/ 0 w 3578976"/>
              <a:gd name="connsiteY6" fmla="*/ 3963175 h 3966350"/>
              <a:gd name="connsiteX7" fmla="*/ 0 w 3578976"/>
              <a:gd name="connsiteY7" fmla="*/ 3175 h 3966350"/>
              <a:gd name="connsiteX0" fmla="*/ 0 w 3579143"/>
              <a:gd name="connsiteY0" fmla="*/ 3175 h 3966350"/>
              <a:gd name="connsiteX1" fmla="*/ 3264200 w 3579143"/>
              <a:gd name="connsiteY1" fmla="*/ 0 h 3966350"/>
              <a:gd name="connsiteX2" fmla="*/ 3323644 w 3579143"/>
              <a:gd name="connsiteY2" fmla="*/ 166544 h 3966350"/>
              <a:gd name="connsiteX3" fmla="*/ 3578825 w 3579143"/>
              <a:gd name="connsiteY3" fmla="*/ 1640275 h 3966350"/>
              <a:gd name="connsiteX4" fmla="*/ 3002082 w 3579143"/>
              <a:gd name="connsiteY4" fmla="*/ 3809471 h 3966350"/>
              <a:gd name="connsiteX5" fmla="*/ 2908600 w 3579143"/>
              <a:gd name="connsiteY5" fmla="*/ 3966350 h 3966350"/>
              <a:gd name="connsiteX6" fmla="*/ 0 w 3579143"/>
              <a:gd name="connsiteY6" fmla="*/ 3963175 h 3966350"/>
              <a:gd name="connsiteX7" fmla="*/ 0 w 3579143"/>
              <a:gd name="connsiteY7" fmla="*/ 3175 h 3966350"/>
              <a:gd name="connsiteX0" fmla="*/ 0 w 3579143"/>
              <a:gd name="connsiteY0" fmla="*/ 3175 h 4131450"/>
              <a:gd name="connsiteX1" fmla="*/ 3264200 w 3579143"/>
              <a:gd name="connsiteY1" fmla="*/ 0 h 4131450"/>
              <a:gd name="connsiteX2" fmla="*/ 3323644 w 3579143"/>
              <a:gd name="connsiteY2" fmla="*/ 166544 h 4131450"/>
              <a:gd name="connsiteX3" fmla="*/ 3578825 w 3579143"/>
              <a:gd name="connsiteY3" fmla="*/ 1640275 h 4131450"/>
              <a:gd name="connsiteX4" fmla="*/ 3002082 w 3579143"/>
              <a:gd name="connsiteY4" fmla="*/ 3809471 h 4131450"/>
              <a:gd name="connsiteX5" fmla="*/ 3159425 w 3579143"/>
              <a:gd name="connsiteY5" fmla="*/ 4131450 h 4131450"/>
              <a:gd name="connsiteX6" fmla="*/ 0 w 3579143"/>
              <a:gd name="connsiteY6" fmla="*/ 3963175 h 4131450"/>
              <a:gd name="connsiteX7" fmla="*/ 0 w 3579143"/>
              <a:gd name="connsiteY7" fmla="*/ 3175 h 4131450"/>
              <a:gd name="connsiteX0" fmla="*/ 0 w 3579143"/>
              <a:gd name="connsiteY0" fmla="*/ 3175 h 3963175"/>
              <a:gd name="connsiteX1" fmla="*/ 3264200 w 3579143"/>
              <a:gd name="connsiteY1" fmla="*/ 0 h 3963175"/>
              <a:gd name="connsiteX2" fmla="*/ 3323644 w 3579143"/>
              <a:gd name="connsiteY2" fmla="*/ 166544 h 3963175"/>
              <a:gd name="connsiteX3" fmla="*/ 3578825 w 3579143"/>
              <a:gd name="connsiteY3" fmla="*/ 1640275 h 3963175"/>
              <a:gd name="connsiteX4" fmla="*/ 3002082 w 3579143"/>
              <a:gd name="connsiteY4" fmla="*/ 3809471 h 3963175"/>
              <a:gd name="connsiteX5" fmla="*/ 2905425 w 3579143"/>
              <a:gd name="connsiteY5" fmla="*/ 3963175 h 3963175"/>
              <a:gd name="connsiteX6" fmla="*/ 0 w 3579143"/>
              <a:gd name="connsiteY6" fmla="*/ 3963175 h 3963175"/>
              <a:gd name="connsiteX7" fmla="*/ 0 w 3579143"/>
              <a:gd name="connsiteY7" fmla="*/ 3175 h 3963175"/>
              <a:gd name="connsiteX0" fmla="*/ 0 w 3579143"/>
              <a:gd name="connsiteY0" fmla="*/ 3175 h 3963175"/>
              <a:gd name="connsiteX1" fmla="*/ 3264200 w 3579143"/>
              <a:gd name="connsiteY1" fmla="*/ 0 h 3963175"/>
              <a:gd name="connsiteX2" fmla="*/ 3323644 w 3579143"/>
              <a:gd name="connsiteY2" fmla="*/ 166544 h 3963175"/>
              <a:gd name="connsiteX3" fmla="*/ 3578825 w 3579143"/>
              <a:gd name="connsiteY3" fmla="*/ 1640275 h 3963175"/>
              <a:gd name="connsiteX4" fmla="*/ 3002082 w 3579143"/>
              <a:gd name="connsiteY4" fmla="*/ 3809471 h 3963175"/>
              <a:gd name="connsiteX5" fmla="*/ 2905425 w 3579143"/>
              <a:gd name="connsiteY5" fmla="*/ 3963175 h 3963175"/>
              <a:gd name="connsiteX6" fmla="*/ 0 w 3579143"/>
              <a:gd name="connsiteY6" fmla="*/ 3963175 h 3963175"/>
              <a:gd name="connsiteX7" fmla="*/ 0 w 3579143"/>
              <a:gd name="connsiteY7" fmla="*/ 3175 h 3963175"/>
              <a:gd name="connsiteX0" fmla="*/ 0 w 3579143"/>
              <a:gd name="connsiteY0" fmla="*/ 3175 h 3963175"/>
              <a:gd name="connsiteX1" fmla="*/ 3264200 w 3579143"/>
              <a:gd name="connsiteY1" fmla="*/ 0 h 3963175"/>
              <a:gd name="connsiteX2" fmla="*/ 3323644 w 3579143"/>
              <a:gd name="connsiteY2" fmla="*/ 166544 h 3963175"/>
              <a:gd name="connsiteX3" fmla="*/ 3578825 w 3579143"/>
              <a:gd name="connsiteY3" fmla="*/ 1640275 h 3963175"/>
              <a:gd name="connsiteX4" fmla="*/ 3002082 w 3579143"/>
              <a:gd name="connsiteY4" fmla="*/ 3809471 h 3963175"/>
              <a:gd name="connsiteX5" fmla="*/ 2905425 w 3579143"/>
              <a:gd name="connsiteY5" fmla="*/ 3963175 h 3963175"/>
              <a:gd name="connsiteX6" fmla="*/ 0 w 3579143"/>
              <a:gd name="connsiteY6" fmla="*/ 3963175 h 3963175"/>
              <a:gd name="connsiteX7" fmla="*/ 0 w 3579143"/>
              <a:gd name="connsiteY7" fmla="*/ 3175 h 39631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579143" h="3963175">
                <a:moveTo>
                  <a:pt x="0" y="3175"/>
                </a:moveTo>
                <a:lnTo>
                  <a:pt x="3264200" y="0"/>
                </a:lnTo>
                <a:cubicBezTo>
                  <a:pt x="3287387" y="61624"/>
                  <a:pt x="3301369" y="106419"/>
                  <a:pt x="3323644" y="166544"/>
                </a:cubicBezTo>
                <a:cubicBezTo>
                  <a:pt x="3491969" y="623544"/>
                  <a:pt x="3568919" y="877546"/>
                  <a:pt x="3578825" y="1640275"/>
                </a:cubicBezTo>
                <a:cubicBezTo>
                  <a:pt x="3588731" y="2403004"/>
                  <a:pt x="3367257" y="3165146"/>
                  <a:pt x="3002082" y="3809471"/>
                </a:cubicBezTo>
                <a:cubicBezTo>
                  <a:pt x="2973457" y="3863246"/>
                  <a:pt x="3011014" y="3800503"/>
                  <a:pt x="2905425" y="3963175"/>
                </a:cubicBezTo>
                <a:lnTo>
                  <a:pt x="0" y="3963175"/>
                </a:lnTo>
                <a:lnTo>
                  <a:pt x="0" y="3175"/>
                </a:lnTo>
                <a:close/>
              </a:path>
            </a:pathLst>
          </a:custGeom>
          <a:noFill/>
          <a:ln>
            <a:noFill/>
          </a:ln>
        </p:spPr>
        <p:txBody>
          <a:bodyPr lIns="720000" tIns="720000" rIns="720000" bIns="720000">
            <a:normAutofit/>
          </a:bodyPr>
          <a:lstStyle>
            <a:lvl1pPr marL="0" indent="0" algn="ctr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  <p:sp>
        <p:nvSpPr>
          <p:cNvPr id="12" name="Titel 7"/>
          <p:cNvSpPr>
            <a:spLocks noGrp="1"/>
          </p:cNvSpPr>
          <p:nvPr>
            <p:ph type="title" hasCustomPrompt="1"/>
          </p:nvPr>
        </p:nvSpPr>
        <p:spPr>
          <a:xfrm>
            <a:off x="490100" y="387429"/>
            <a:ext cx="11211800" cy="369332"/>
          </a:xfrm>
        </p:spPr>
        <p:txBody>
          <a:bodyPr/>
          <a:lstStyle/>
          <a:p>
            <a:r>
              <a:rPr lang="en-GB" noProof="0" dirty="0"/>
              <a:t>Click to add headline</a:t>
            </a:r>
          </a:p>
        </p:txBody>
      </p:sp>
      <p:sp>
        <p:nvSpPr>
          <p:cNvPr id="14" name="Inhaltsplatzhalter 11"/>
          <p:cNvSpPr>
            <a:spLocks noGrp="1"/>
          </p:cNvSpPr>
          <p:nvPr>
            <p:ph sz="quarter" idx="14" hasCustomPrompt="1"/>
          </p:nvPr>
        </p:nvSpPr>
        <p:spPr>
          <a:xfrm>
            <a:off x="5131199" y="1598400"/>
            <a:ext cx="6570701" cy="4526400"/>
          </a:xfrm>
        </p:spPr>
        <p:txBody>
          <a:bodyPr/>
          <a:lstStyle>
            <a:lvl1pPr>
              <a:defRPr baseline="0"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 noProof="0"/>
              <a:t>Click to add text</a:t>
            </a:r>
          </a:p>
        </p:txBody>
      </p:sp>
      <p:pic>
        <p:nvPicPr>
          <p:cNvPr id="13" name="Grafik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5924" y="6485509"/>
            <a:ext cx="840360" cy="2540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4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ircle segment_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 userDrawn="1"/>
        </p:nvSpPr>
        <p:spPr>
          <a:xfrm>
            <a:off x="0" y="2928494"/>
            <a:ext cx="12192000" cy="3929507"/>
          </a:xfrm>
          <a:prstGeom prst="rect">
            <a:avLst/>
          </a:prstGeom>
          <a:gradFill>
            <a:gsLst>
              <a:gs pos="0">
                <a:srgbClr val="6699CC">
                  <a:alpha val="40000"/>
                </a:srgbClr>
              </a:gs>
              <a:gs pos="100000">
                <a:srgbClr val="FFFFFF"/>
              </a:gs>
            </a:gsLst>
            <a:lin ang="162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sz="1400" noProof="0" dirty="0">
              <a:solidFill>
                <a:schemeClr val="tx1"/>
              </a:solidFill>
              <a:latin typeface="BISansOpti"/>
            </a:endParaRPr>
          </a:p>
        </p:txBody>
      </p:sp>
      <p:cxnSp>
        <p:nvCxnSpPr>
          <p:cNvPr id="5" name="Gerade Verbindung 4"/>
          <p:cNvCxnSpPr/>
          <p:nvPr userDrawn="1"/>
        </p:nvCxnSpPr>
        <p:spPr>
          <a:xfrm>
            <a:off x="0" y="971453"/>
            <a:ext cx="12192000" cy="0"/>
          </a:xfrm>
          <a:prstGeom prst="line">
            <a:avLst/>
          </a:prstGeom>
          <a:ln w="12700">
            <a:solidFill>
              <a:srgbClr val="0033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14E770-962C-4573-9BE2-254383BAF066}" type="datetime1">
              <a:rPr lang="en-GB" smtClean="0"/>
              <a:t>14/12/2021</a:t>
            </a:fld>
            <a:endParaRPr lang="en-GB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CMD T.C.M. / MCM</a:t>
            </a:r>
            <a:endParaRPr lang="en-GB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3B55C4-4F5A-416B-997D-6CE47EB0A94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" name="Rechteck 12"/>
          <p:cNvSpPr/>
          <p:nvPr userDrawn="1"/>
        </p:nvSpPr>
        <p:spPr>
          <a:xfrm>
            <a:off x="5" y="980018"/>
            <a:ext cx="4897308" cy="5281083"/>
          </a:xfrm>
          <a:custGeom>
            <a:avLst/>
            <a:gdLst/>
            <a:ahLst/>
            <a:cxnLst/>
            <a:rect l="l" t="t" r="r" b="b"/>
            <a:pathLst>
              <a:path w="3672981" h="3960812">
                <a:moveTo>
                  <a:pt x="0" y="0"/>
                </a:moveTo>
                <a:lnTo>
                  <a:pt x="3361658" y="0"/>
                </a:lnTo>
                <a:lnTo>
                  <a:pt x="3412473" y="127738"/>
                </a:lnTo>
                <a:cubicBezTo>
                  <a:pt x="3581102" y="597230"/>
                  <a:pt x="3672981" y="1103310"/>
                  <a:pt x="3672981" y="1630850"/>
                </a:cubicBezTo>
                <a:cubicBezTo>
                  <a:pt x="3672981" y="2378998"/>
                  <a:pt x="3488190" y="3083985"/>
                  <a:pt x="3161761" y="3702659"/>
                </a:cubicBezTo>
                <a:lnTo>
                  <a:pt x="3012298" y="3960812"/>
                </a:lnTo>
                <a:lnTo>
                  <a:pt x="0" y="3960812"/>
                </a:lnTo>
                <a:close/>
              </a:path>
            </a:pathLst>
          </a:cu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sz="1400" dirty="0" err="1">
              <a:solidFill>
                <a:schemeClr val="tx1"/>
              </a:solidFill>
              <a:latin typeface="BISansOpti"/>
            </a:endParaRPr>
          </a:p>
        </p:txBody>
      </p:sp>
      <p:sp>
        <p:nvSpPr>
          <p:cNvPr id="11" name="Bildplatzhalter 20"/>
          <p:cNvSpPr>
            <a:spLocks noGrp="1"/>
          </p:cNvSpPr>
          <p:nvPr>
            <p:ph type="pic" sz="quarter" idx="13"/>
          </p:nvPr>
        </p:nvSpPr>
        <p:spPr>
          <a:xfrm>
            <a:off x="-1" y="974967"/>
            <a:ext cx="4772191" cy="5284233"/>
          </a:xfrm>
          <a:custGeom>
            <a:avLst/>
            <a:gdLst>
              <a:gd name="connsiteX0" fmla="*/ 0 w 3582000"/>
              <a:gd name="connsiteY0" fmla="*/ 0 h 3960000"/>
              <a:gd name="connsiteX1" fmla="*/ 1791000 w 3582000"/>
              <a:gd name="connsiteY1" fmla="*/ 0 h 3960000"/>
              <a:gd name="connsiteX2" fmla="*/ 3582000 w 3582000"/>
              <a:gd name="connsiteY2" fmla="*/ 1980000 h 3960000"/>
              <a:gd name="connsiteX3" fmla="*/ 1791000 w 3582000"/>
              <a:gd name="connsiteY3" fmla="*/ 3960000 h 3960000"/>
              <a:gd name="connsiteX4" fmla="*/ 0 w 3582000"/>
              <a:gd name="connsiteY4" fmla="*/ 3960000 h 3960000"/>
              <a:gd name="connsiteX5" fmla="*/ 0 w 3582000"/>
              <a:gd name="connsiteY5" fmla="*/ 0 h 3960000"/>
              <a:gd name="connsiteX0" fmla="*/ 0 w 3669107"/>
              <a:gd name="connsiteY0" fmla="*/ 0 h 3960000"/>
              <a:gd name="connsiteX1" fmla="*/ 1791000 w 3669107"/>
              <a:gd name="connsiteY1" fmla="*/ 0 h 3960000"/>
              <a:gd name="connsiteX2" fmla="*/ 3225219 w 3669107"/>
              <a:gd name="connsiteY2" fmla="*/ 807894 h 3960000"/>
              <a:gd name="connsiteX3" fmla="*/ 3582000 w 3669107"/>
              <a:gd name="connsiteY3" fmla="*/ 1980000 h 3960000"/>
              <a:gd name="connsiteX4" fmla="*/ 1791000 w 3669107"/>
              <a:gd name="connsiteY4" fmla="*/ 3960000 h 3960000"/>
              <a:gd name="connsiteX5" fmla="*/ 0 w 3669107"/>
              <a:gd name="connsiteY5" fmla="*/ 3960000 h 3960000"/>
              <a:gd name="connsiteX6" fmla="*/ 0 w 3669107"/>
              <a:gd name="connsiteY6" fmla="*/ 0 h 3960000"/>
              <a:gd name="connsiteX0" fmla="*/ 0 w 3597300"/>
              <a:gd name="connsiteY0" fmla="*/ 0 h 3960000"/>
              <a:gd name="connsiteX1" fmla="*/ 1791000 w 3597300"/>
              <a:gd name="connsiteY1" fmla="*/ 0 h 3960000"/>
              <a:gd name="connsiteX2" fmla="*/ 3225219 w 3597300"/>
              <a:gd name="connsiteY2" fmla="*/ 807894 h 3960000"/>
              <a:gd name="connsiteX3" fmla="*/ 3582000 w 3597300"/>
              <a:gd name="connsiteY3" fmla="*/ 1980000 h 3960000"/>
              <a:gd name="connsiteX4" fmla="*/ 2862382 w 3597300"/>
              <a:gd name="connsiteY4" fmla="*/ 3307821 h 3960000"/>
              <a:gd name="connsiteX5" fmla="*/ 1791000 w 3597300"/>
              <a:gd name="connsiteY5" fmla="*/ 3960000 h 3960000"/>
              <a:gd name="connsiteX6" fmla="*/ 0 w 3597300"/>
              <a:gd name="connsiteY6" fmla="*/ 3960000 h 3960000"/>
              <a:gd name="connsiteX7" fmla="*/ 0 w 3597300"/>
              <a:gd name="connsiteY7" fmla="*/ 0 h 3960000"/>
              <a:gd name="connsiteX0" fmla="*/ 0 w 3597300"/>
              <a:gd name="connsiteY0" fmla="*/ 0 h 3960000"/>
              <a:gd name="connsiteX1" fmla="*/ 3261025 w 3597300"/>
              <a:gd name="connsiteY1" fmla="*/ 3175 h 3960000"/>
              <a:gd name="connsiteX2" fmla="*/ 3225219 w 3597300"/>
              <a:gd name="connsiteY2" fmla="*/ 807894 h 3960000"/>
              <a:gd name="connsiteX3" fmla="*/ 3582000 w 3597300"/>
              <a:gd name="connsiteY3" fmla="*/ 1980000 h 3960000"/>
              <a:gd name="connsiteX4" fmla="*/ 2862382 w 3597300"/>
              <a:gd name="connsiteY4" fmla="*/ 3307821 h 3960000"/>
              <a:gd name="connsiteX5" fmla="*/ 1791000 w 3597300"/>
              <a:gd name="connsiteY5" fmla="*/ 3960000 h 3960000"/>
              <a:gd name="connsiteX6" fmla="*/ 0 w 3597300"/>
              <a:gd name="connsiteY6" fmla="*/ 3960000 h 3960000"/>
              <a:gd name="connsiteX7" fmla="*/ 0 w 3597300"/>
              <a:gd name="connsiteY7" fmla="*/ 0 h 3960000"/>
              <a:gd name="connsiteX0" fmla="*/ 0 w 3597300"/>
              <a:gd name="connsiteY0" fmla="*/ 0 h 3960000"/>
              <a:gd name="connsiteX1" fmla="*/ 3019725 w 3597300"/>
              <a:gd name="connsiteY1" fmla="*/ 282575 h 3960000"/>
              <a:gd name="connsiteX2" fmla="*/ 3225219 w 3597300"/>
              <a:gd name="connsiteY2" fmla="*/ 807894 h 3960000"/>
              <a:gd name="connsiteX3" fmla="*/ 3582000 w 3597300"/>
              <a:gd name="connsiteY3" fmla="*/ 1980000 h 3960000"/>
              <a:gd name="connsiteX4" fmla="*/ 2862382 w 3597300"/>
              <a:gd name="connsiteY4" fmla="*/ 3307821 h 3960000"/>
              <a:gd name="connsiteX5" fmla="*/ 1791000 w 3597300"/>
              <a:gd name="connsiteY5" fmla="*/ 3960000 h 3960000"/>
              <a:gd name="connsiteX6" fmla="*/ 0 w 3597300"/>
              <a:gd name="connsiteY6" fmla="*/ 3960000 h 3960000"/>
              <a:gd name="connsiteX7" fmla="*/ 0 w 3597300"/>
              <a:gd name="connsiteY7" fmla="*/ 0 h 3960000"/>
              <a:gd name="connsiteX0" fmla="*/ 0 w 3597300"/>
              <a:gd name="connsiteY0" fmla="*/ 3175 h 3963175"/>
              <a:gd name="connsiteX1" fmla="*/ 3264200 w 3597300"/>
              <a:gd name="connsiteY1" fmla="*/ 0 h 3963175"/>
              <a:gd name="connsiteX2" fmla="*/ 3225219 w 3597300"/>
              <a:gd name="connsiteY2" fmla="*/ 811069 h 3963175"/>
              <a:gd name="connsiteX3" fmla="*/ 3582000 w 3597300"/>
              <a:gd name="connsiteY3" fmla="*/ 1983175 h 3963175"/>
              <a:gd name="connsiteX4" fmla="*/ 2862382 w 3597300"/>
              <a:gd name="connsiteY4" fmla="*/ 3310996 h 3963175"/>
              <a:gd name="connsiteX5" fmla="*/ 1791000 w 3597300"/>
              <a:gd name="connsiteY5" fmla="*/ 3963175 h 3963175"/>
              <a:gd name="connsiteX6" fmla="*/ 0 w 3597300"/>
              <a:gd name="connsiteY6" fmla="*/ 3963175 h 3963175"/>
              <a:gd name="connsiteX7" fmla="*/ 0 w 3597300"/>
              <a:gd name="connsiteY7" fmla="*/ 3175 h 3963175"/>
              <a:gd name="connsiteX0" fmla="*/ 0 w 3597300"/>
              <a:gd name="connsiteY0" fmla="*/ 3175 h 3963175"/>
              <a:gd name="connsiteX1" fmla="*/ 3264200 w 3597300"/>
              <a:gd name="connsiteY1" fmla="*/ 0 h 3963175"/>
              <a:gd name="connsiteX2" fmla="*/ 3225219 w 3597300"/>
              <a:gd name="connsiteY2" fmla="*/ 811069 h 3963175"/>
              <a:gd name="connsiteX3" fmla="*/ 3582000 w 3597300"/>
              <a:gd name="connsiteY3" fmla="*/ 1983175 h 3963175"/>
              <a:gd name="connsiteX4" fmla="*/ 2862382 w 3597300"/>
              <a:gd name="connsiteY4" fmla="*/ 3310996 h 3963175"/>
              <a:gd name="connsiteX5" fmla="*/ 1791000 w 3597300"/>
              <a:gd name="connsiteY5" fmla="*/ 3963175 h 3963175"/>
              <a:gd name="connsiteX6" fmla="*/ 0 w 3597300"/>
              <a:gd name="connsiteY6" fmla="*/ 3963175 h 3963175"/>
              <a:gd name="connsiteX7" fmla="*/ 0 w 3597300"/>
              <a:gd name="connsiteY7" fmla="*/ 3175 h 3963175"/>
              <a:gd name="connsiteX0" fmla="*/ 0 w 3616616"/>
              <a:gd name="connsiteY0" fmla="*/ 21630 h 3981630"/>
              <a:gd name="connsiteX1" fmla="*/ 3264200 w 3616616"/>
              <a:gd name="connsiteY1" fmla="*/ 18455 h 3981630"/>
              <a:gd name="connsiteX2" fmla="*/ 3323644 w 3616616"/>
              <a:gd name="connsiteY2" fmla="*/ 184999 h 3981630"/>
              <a:gd name="connsiteX3" fmla="*/ 3582000 w 3616616"/>
              <a:gd name="connsiteY3" fmla="*/ 2001630 h 3981630"/>
              <a:gd name="connsiteX4" fmla="*/ 2862382 w 3616616"/>
              <a:gd name="connsiteY4" fmla="*/ 3329451 h 3981630"/>
              <a:gd name="connsiteX5" fmla="*/ 1791000 w 3616616"/>
              <a:gd name="connsiteY5" fmla="*/ 3981630 h 3981630"/>
              <a:gd name="connsiteX6" fmla="*/ 0 w 3616616"/>
              <a:gd name="connsiteY6" fmla="*/ 3981630 h 3981630"/>
              <a:gd name="connsiteX7" fmla="*/ 0 w 3616616"/>
              <a:gd name="connsiteY7" fmla="*/ 21630 h 3981630"/>
              <a:gd name="connsiteX0" fmla="*/ 0 w 3616616"/>
              <a:gd name="connsiteY0" fmla="*/ 3175 h 3963175"/>
              <a:gd name="connsiteX1" fmla="*/ 3264200 w 3616616"/>
              <a:gd name="connsiteY1" fmla="*/ 0 h 3963175"/>
              <a:gd name="connsiteX2" fmla="*/ 3323644 w 3616616"/>
              <a:gd name="connsiteY2" fmla="*/ 166544 h 3963175"/>
              <a:gd name="connsiteX3" fmla="*/ 3582000 w 3616616"/>
              <a:gd name="connsiteY3" fmla="*/ 1983175 h 3963175"/>
              <a:gd name="connsiteX4" fmla="*/ 2862382 w 3616616"/>
              <a:gd name="connsiteY4" fmla="*/ 3310996 h 3963175"/>
              <a:gd name="connsiteX5" fmla="*/ 1791000 w 3616616"/>
              <a:gd name="connsiteY5" fmla="*/ 3963175 h 3963175"/>
              <a:gd name="connsiteX6" fmla="*/ 0 w 3616616"/>
              <a:gd name="connsiteY6" fmla="*/ 3963175 h 3963175"/>
              <a:gd name="connsiteX7" fmla="*/ 0 w 3616616"/>
              <a:gd name="connsiteY7" fmla="*/ 3175 h 3963175"/>
              <a:gd name="connsiteX0" fmla="*/ 0 w 3601265"/>
              <a:gd name="connsiteY0" fmla="*/ 3175 h 3963175"/>
              <a:gd name="connsiteX1" fmla="*/ 3264200 w 3601265"/>
              <a:gd name="connsiteY1" fmla="*/ 0 h 3963175"/>
              <a:gd name="connsiteX2" fmla="*/ 3323644 w 3601265"/>
              <a:gd name="connsiteY2" fmla="*/ 166544 h 3963175"/>
              <a:gd name="connsiteX3" fmla="*/ 3582000 w 3601265"/>
              <a:gd name="connsiteY3" fmla="*/ 1983175 h 3963175"/>
              <a:gd name="connsiteX4" fmla="*/ 2862382 w 3601265"/>
              <a:gd name="connsiteY4" fmla="*/ 3310996 h 3963175"/>
              <a:gd name="connsiteX5" fmla="*/ 1791000 w 3601265"/>
              <a:gd name="connsiteY5" fmla="*/ 3963175 h 3963175"/>
              <a:gd name="connsiteX6" fmla="*/ 0 w 3601265"/>
              <a:gd name="connsiteY6" fmla="*/ 3963175 h 3963175"/>
              <a:gd name="connsiteX7" fmla="*/ 0 w 3601265"/>
              <a:gd name="connsiteY7" fmla="*/ 3175 h 3963175"/>
              <a:gd name="connsiteX0" fmla="*/ 0 w 3364734"/>
              <a:gd name="connsiteY0" fmla="*/ 3175 h 3963175"/>
              <a:gd name="connsiteX1" fmla="*/ 3264200 w 3364734"/>
              <a:gd name="connsiteY1" fmla="*/ 0 h 3963175"/>
              <a:gd name="connsiteX2" fmla="*/ 3323644 w 3364734"/>
              <a:gd name="connsiteY2" fmla="*/ 166544 h 3963175"/>
              <a:gd name="connsiteX3" fmla="*/ 3016850 w 3364734"/>
              <a:gd name="connsiteY3" fmla="*/ 1614875 h 3963175"/>
              <a:gd name="connsiteX4" fmla="*/ 2862382 w 3364734"/>
              <a:gd name="connsiteY4" fmla="*/ 3310996 h 3963175"/>
              <a:gd name="connsiteX5" fmla="*/ 1791000 w 3364734"/>
              <a:gd name="connsiteY5" fmla="*/ 3963175 h 3963175"/>
              <a:gd name="connsiteX6" fmla="*/ 0 w 3364734"/>
              <a:gd name="connsiteY6" fmla="*/ 3963175 h 3963175"/>
              <a:gd name="connsiteX7" fmla="*/ 0 w 3364734"/>
              <a:gd name="connsiteY7" fmla="*/ 3175 h 3963175"/>
              <a:gd name="connsiteX0" fmla="*/ 0 w 3598344"/>
              <a:gd name="connsiteY0" fmla="*/ 3175 h 3963175"/>
              <a:gd name="connsiteX1" fmla="*/ 3264200 w 3598344"/>
              <a:gd name="connsiteY1" fmla="*/ 0 h 3963175"/>
              <a:gd name="connsiteX2" fmla="*/ 3323644 w 3598344"/>
              <a:gd name="connsiteY2" fmla="*/ 166544 h 3963175"/>
              <a:gd name="connsiteX3" fmla="*/ 3578825 w 3598344"/>
              <a:gd name="connsiteY3" fmla="*/ 1640275 h 3963175"/>
              <a:gd name="connsiteX4" fmla="*/ 2862382 w 3598344"/>
              <a:gd name="connsiteY4" fmla="*/ 3310996 h 3963175"/>
              <a:gd name="connsiteX5" fmla="*/ 1791000 w 3598344"/>
              <a:gd name="connsiteY5" fmla="*/ 3963175 h 3963175"/>
              <a:gd name="connsiteX6" fmla="*/ 0 w 3598344"/>
              <a:gd name="connsiteY6" fmla="*/ 3963175 h 3963175"/>
              <a:gd name="connsiteX7" fmla="*/ 0 w 3598344"/>
              <a:gd name="connsiteY7" fmla="*/ 3175 h 3963175"/>
              <a:gd name="connsiteX0" fmla="*/ 0 w 3612056"/>
              <a:gd name="connsiteY0" fmla="*/ 3175 h 3963175"/>
              <a:gd name="connsiteX1" fmla="*/ 3264200 w 3612056"/>
              <a:gd name="connsiteY1" fmla="*/ 0 h 3963175"/>
              <a:gd name="connsiteX2" fmla="*/ 3323644 w 3612056"/>
              <a:gd name="connsiteY2" fmla="*/ 166544 h 3963175"/>
              <a:gd name="connsiteX3" fmla="*/ 3578825 w 3612056"/>
              <a:gd name="connsiteY3" fmla="*/ 1640275 h 3963175"/>
              <a:gd name="connsiteX4" fmla="*/ 2862382 w 3612056"/>
              <a:gd name="connsiteY4" fmla="*/ 3310996 h 3963175"/>
              <a:gd name="connsiteX5" fmla="*/ 1791000 w 3612056"/>
              <a:gd name="connsiteY5" fmla="*/ 3963175 h 3963175"/>
              <a:gd name="connsiteX6" fmla="*/ 0 w 3612056"/>
              <a:gd name="connsiteY6" fmla="*/ 3963175 h 3963175"/>
              <a:gd name="connsiteX7" fmla="*/ 0 w 3612056"/>
              <a:gd name="connsiteY7" fmla="*/ 3175 h 3963175"/>
              <a:gd name="connsiteX0" fmla="*/ 0 w 3635528"/>
              <a:gd name="connsiteY0" fmla="*/ 3175 h 3963175"/>
              <a:gd name="connsiteX1" fmla="*/ 3264200 w 3635528"/>
              <a:gd name="connsiteY1" fmla="*/ 0 h 3963175"/>
              <a:gd name="connsiteX2" fmla="*/ 3323644 w 3635528"/>
              <a:gd name="connsiteY2" fmla="*/ 166544 h 3963175"/>
              <a:gd name="connsiteX3" fmla="*/ 3578825 w 3635528"/>
              <a:gd name="connsiteY3" fmla="*/ 1640275 h 3963175"/>
              <a:gd name="connsiteX4" fmla="*/ 2862382 w 3635528"/>
              <a:gd name="connsiteY4" fmla="*/ 3310996 h 3963175"/>
              <a:gd name="connsiteX5" fmla="*/ 1791000 w 3635528"/>
              <a:gd name="connsiteY5" fmla="*/ 3963175 h 3963175"/>
              <a:gd name="connsiteX6" fmla="*/ 0 w 3635528"/>
              <a:gd name="connsiteY6" fmla="*/ 3963175 h 3963175"/>
              <a:gd name="connsiteX7" fmla="*/ 0 w 3635528"/>
              <a:gd name="connsiteY7" fmla="*/ 3175 h 3963175"/>
              <a:gd name="connsiteX0" fmla="*/ 0 w 3578828"/>
              <a:gd name="connsiteY0" fmla="*/ 3175 h 3963175"/>
              <a:gd name="connsiteX1" fmla="*/ 3264200 w 3578828"/>
              <a:gd name="connsiteY1" fmla="*/ 0 h 3963175"/>
              <a:gd name="connsiteX2" fmla="*/ 3323644 w 3578828"/>
              <a:gd name="connsiteY2" fmla="*/ 166544 h 3963175"/>
              <a:gd name="connsiteX3" fmla="*/ 3578825 w 3578828"/>
              <a:gd name="connsiteY3" fmla="*/ 1640275 h 3963175"/>
              <a:gd name="connsiteX4" fmla="*/ 2862382 w 3578828"/>
              <a:gd name="connsiteY4" fmla="*/ 3310996 h 3963175"/>
              <a:gd name="connsiteX5" fmla="*/ 1791000 w 3578828"/>
              <a:gd name="connsiteY5" fmla="*/ 3963175 h 3963175"/>
              <a:gd name="connsiteX6" fmla="*/ 0 w 3578828"/>
              <a:gd name="connsiteY6" fmla="*/ 3963175 h 3963175"/>
              <a:gd name="connsiteX7" fmla="*/ 0 w 3578828"/>
              <a:gd name="connsiteY7" fmla="*/ 3175 h 3963175"/>
              <a:gd name="connsiteX0" fmla="*/ 0 w 3578942"/>
              <a:gd name="connsiteY0" fmla="*/ 3175 h 3963175"/>
              <a:gd name="connsiteX1" fmla="*/ 3264200 w 3578942"/>
              <a:gd name="connsiteY1" fmla="*/ 0 h 3963175"/>
              <a:gd name="connsiteX2" fmla="*/ 3323644 w 3578942"/>
              <a:gd name="connsiteY2" fmla="*/ 166544 h 3963175"/>
              <a:gd name="connsiteX3" fmla="*/ 3578825 w 3578942"/>
              <a:gd name="connsiteY3" fmla="*/ 1640275 h 3963175"/>
              <a:gd name="connsiteX4" fmla="*/ 2862382 w 3578942"/>
              <a:gd name="connsiteY4" fmla="*/ 3310996 h 3963175"/>
              <a:gd name="connsiteX5" fmla="*/ 1791000 w 3578942"/>
              <a:gd name="connsiteY5" fmla="*/ 3963175 h 3963175"/>
              <a:gd name="connsiteX6" fmla="*/ 0 w 3578942"/>
              <a:gd name="connsiteY6" fmla="*/ 3963175 h 3963175"/>
              <a:gd name="connsiteX7" fmla="*/ 0 w 3578942"/>
              <a:gd name="connsiteY7" fmla="*/ 3175 h 3963175"/>
              <a:gd name="connsiteX0" fmla="*/ 0 w 3578942"/>
              <a:gd name="connsiteY0" fmla="*/ 3175 h 3963175"/>
              <a:gd name="connsiteX1" fmla="*/ 3264200 w 3578942"/>
              <a:gd name="connsiteY1" fmla="*/ 0 h 3963175"/>
              <a:gd name="connsiteX2" fmla="*/ 3323644 w 3578942"/>
              <a:gd name="connsiteY2" fmla="*/ 166544 h 3963175"/>
              <a:gd name="connsiteX3" fmla="*/ 3578825 w 3578942"/>
              <a:gd name="connsiteY3" fmla="*/ 1640275 h 3963175"/>
              <a:gd name="connsiteX4" fmla="*/ 2862382 w 3578942"/>
              <a:gd name="connsiteY4" fmla="*/ 3310996 h 3963175"/>
              <a:gd name="connsiteX5" fmla="*/ 1791000 w 3578942"/>
              <a:gd name="connsiteY5" fmla="*/ 3963175 h 3963175"/>
              <a:gd name="connsiteX6" fmla="*/ 0 w 3578942"/>
              <a:gd name="connsiteY6" fmla="*/ 3963175 h 3963175"/>
              <a:gd name="connsiteX7" fmla="*/ 0 w 3578942"/>
              <a:gd name="connsiteY7" fmla="*/ 3175 h 3963175"/>
              <a:gd name="connsiteX0" fmla="*/ 0 w 3590408"/>
              <a:gd name="connsiteY0" fmla="*/ 3175 h 3974831"/>
              <a:gd name="connsiteX1" fmla="*/ 3264200 w 3590408"/>
              <a:gd name="connsiteY1" fmla="*/ 0 h 3974831"/>
              <a:gd name="connsiteX2" fmla="*/ 3323644 w 3590408"/>
              <a:gd name="connsiteY2" fmla="*/ 166544 h 3974831"/>
              <a:gd name="connsiteX3" fmla="*/ 3578825 w 3590408"/>
              <a:gd name="connsiteY3" fmla="*/ 1640275 h 3974831"/>
              <a:gd name="connsiteX4" fmla="*/ 3002082 w 3590408"/>
              <a:gd name="connsiteY4" fmla="*/ 3809471 h 3974831"/>
              <a:gd name="connsiteX5" fmla="*/ 1791000 w 3590408"/>
              <a:gd name="connsiteY5" fmla="*/ 3963175 h 3974831"/>
              <a:gd name="connsiteX6" fmla="*/ 0 w 3590408"/>
              <a:gd name="connsiteY6" fmla="*/ 3963175 h 3974831"/>
              <a:gd name="connsiteX7" fmla="*/ 0 w 3590408"/>
              <a:gd name="connsiteY7" fmla="*/ 3175 h 3974831"/>
              <a:gd name="connsiteX0" fmla="*/ 0 w 3590408"/>
              <a:gd name="connsiteY0" fmla="*/ 3175 h 3974831"/>
              <a:gd name="connsiteX1" fmla="*/ 3264200 w 3590408"/>
              <a:gd name="connsiteY1" fmla="*/ 0 h 3974831"/>
              <a:gd name="connsiteX2" fmla="*/ 3323644 w 3590408"/>
              <a:gd name="connsiteY2" fmla="*/ 166544 h 3974831"/>
              <a:gd name="connsiteX3" fmla="*/ 3578825 w 3590408"/>
              <a:gd name="connsiteY3" fmla="*/ 1640275 h 3974831"/>
              <a:gd name="connsiteX4" fmla="*/ 3002082 w 3590408"/>
              <a:gd name="connsiteY4" fmla="*/ 3809471 h 3974831"/>
              <a:gd name="connsiteX5" fmla="*/ 1791000 w 3590408"/>
              <a:gd name="connsiteY5" fmla="*/ 3963175 h 3974831"/>
              <a:gd name="connsiteX6" fmla="*/ 0 w 3590408"/>
              <a:gd name="connsiteY6" fmla="*/ 3963175 h 3974831"/>
              <a:gd name="connsiteX7" fmla="*/ 0 w 3590408"/>
              <a:gd name="connsiteY7" fmla="*/ 3175 h 3974831"/>
              <a:gd name="connsiteX0" fmla="*/ 0 w 3590408"/>
              <a:gd name="connsiteY0" fmla="*/ 3175 h 3975950"/>
              <a:gd name="connsiteX1" fmla="*/ 3264200 w 3590408"/>
              <a:gd name="connsiteY1" fmla="*/ 0 h 3975950"/>
              <a:gd name="connsiteX2" fmla="*/ 3323644 w 3590408"/>
              <a:gd name="connsiteY2" fmla="*/ 166544 h 3975950"/>
              <a:gd name="connsiteX3" fmla="*/ 3578825 w 3590408"/>
              <a:gd name="connsiteY3" fmla="*/ 1640275 h 3975950"/>
              <a:gd name="connsiteX4" fmla="*/ 3002082 w 3590408"/>
              <a:gd name="connsiteY4" fmla="*/ 3809471 h 3975950"/>
              <a:gd name="connsiteX5" fmla="*/ 2908600 w 3590408"/>
              <a:gd name="connsiteY5" fmla="*/ 3966350 h 3975950"/>
              <a:gd name="connsiteX6" fmla="*/ 0 w 3590408"/>
              <a:gd name="connsiteY6" fmla="*/ 3963175 h 3975950"/>
              <a:gd name="connsiteX7" fmla="*/ 0 w 3590408"/>
              <a:gd name="connsiteY7" fmla="*/ 3175 h 3975950"/>
              <a:gd name="connsiteX0" fmla="*/ 0 w 3590408"/>
              <a:gd name="connsiteY0" fmla="*/ 3175 h 3966350"/>
              <a:gd name="connsiteX1" fmla="*/ 3264200 w 3590408"/>
              <a:gd name="connsiteY1" fmla="*/ 0 h 3966350"/>
              <a:gd name="connsiteX2" fmla="*/ 3323644 w 3590408"/>
              <a:gd name="connsiteY2" fmla="*/ 166544 h 3966350"/>
              <a:gd name="connsiteX3" fmla="*/ 3578825 w 3590408"/>
              <a:gd name="connsiteY3" fmla="*/ 1640275 h 3966350"/>
              <a:gd name="connsiteX4" fmla="*/ 3002082 w 3590408"/>
              <a:gd name="connsiteY4" fmla="*/ 3809471 h 3966350"/>
              <a:gd name="connsiteX5" fmla="*/ 2908600 w 3590408"/>
              <a:gd name="connsiteY5" fmla="*/ 3966350 h 3966350"/>
              <a:gd name="connsiteX6" fmla="*/ 0 w 3590408"/>
              <a:gd name="connsiteY6" fmla="*/ 3963175 h 3966350"/>
              <a:gd name="connsiteX7" fmla="*/ 0 w 3590408"/>
              <a:gd name="connsiteY7" fmla="*/ 3175 h 3966350"/>
              <a:gd name="connsiteX0" fmla="*/ 0 w 3590408"/>
              <a:gd name="connsiteY0" fmla="*/ 3175 h 3966350"/>
              <a:gd name="connsiteX1" fmla="*/ 3264200 w 3590408"/>
              <a:gd name="connsiteY1" fmla="*/ 0 h 3966350"/>
              <a:gd name="connsiteX2" fmla="*/ 3323644 w 3590408"/>
              <a:gd name="connsiteY2" fmla="*/ 166544 h 3966350"/>
              <a:gd name="connsiteX3" fmla="*/ 3578825 w 3590408"/>
              <a:gd name="connsiteY3" fmla="*/ 1640275 h 3966350"/>
              <a:gd name="connsiteX4" fmla="*/ 3002082 w 3590408"/>
              <a:gd name="connsiteY4" fmla="*/ 3809471 h 3966350"/>
              <a:gd name="connsiteX5" fmla="*/ 2908600 w 3590408"/>
              <a:gd name="connsiteY5" fmla="*/ 3966350 h 3966350"/>
              <a:gd name="connsiteX6" fmla="*/ 0 w 3590408"/>
              <a:gd name="connsiteY6" fmla="*/ 3963175 h 3966350"/>
              <a:gd name="connsiteX7" fmla="*/ 0 w 3590408"/>
              <a:gd name="connsiteY7" fmla="*/ 3175 h 3966350"/>
              <a:gd name="connsiteX0" fmla="*/ 0 w 3590408"/>
              <a:gd name="connsiteY0" fmla="*/ 3175 h 3966350"/>
              <a:gd name="connsiteX1" fmla="*/ 3264200 w 3590408"/>
              <a:gd name="connsiteY1" fmla="*/ 0 h 3966350"/>
              <a:gd name="connsiteX2" fmla="*/ 3323644 w 3590408"/>
              <a:gd name="connsiteY2" fmla="*/ 166544 h 3966350"/>
              <a:gd name="connsiteX3" fmla="*/ 3578825 w 3590408"/>
              <a:gd name="connsiteY3" fmla="*/ 1640275 h 3966350"/>
              <a:gd name="connsiteX4" fmla="*/ 3002082 w 3590408"/>
              <a:gd name="connsiteY4" fmla="*/ 3809471 h 3966350"/>
              <a:gd name="connsiteX5" fmla="*/ 2908600 w 3590408"/>
              <a:gd name="connsiteY5" fmla="*/ 3966350 h 3966350"/>
              <a:gd name="connsiteX6" fmla="*/ 0 w 3590408"/>
              <a:gd name="connsiteY6" fmla="*/ 3963175 h 3966350"/>
              <a:gd name="connsiteX7" fmla="*/ 0 w 3590408"/>
              <a:gd name="connsiteY7" fmla="*/ 3175 h 3966350"/>
              <a:gd name="connsiteX0" fmla="*/ 0 w 3580367"/>
              <a:gd name="connsiteY0" fmla="*/ 3175 h 3966350"/>
              <a:gd name="connsiteX1" fmla="*/ 3264200 w 3580367"/>
              <a:gd name="connsiteY1" fmla="*/ 0 h 3966350"/>
              <a:gd name="connsiteX2" fmla="*/ 3323644 w 3580367"/>
              <a:gd name="connsiteY2" fmla="*/ 166544 h 3966350"/>
              <a:gd name="connsiteX3" fmla="*/ 3578825 w 3580367"/>
              <a:gd name="connsiteY3" fmla="*/ 1640275 h 3966350"/>
              <a:gd name="connsiteX4" fmla="*/ 3002082 w 3580367"/>
              <a:gd name="connsiteY4" fmla="*/ 3809471 h 3966350"/>
              <a:gd name="connsiteX5" fmla="*/ 2908600 w 3580367"/>
              <a:gd name="connsiteY5" fmla="*/ 3966350 h 3966350"/>
              <a:gd name="connsiteX6" fmla="*/ 0 w 3580367"/>
              <a:gd name="connsiteY6" fmla="*/ 3963175 h 3966350"/>
              <a:gd name="connsiteX7" fmla="*/ 0 w 3580367"/>
              <a:gd name="connsiteY7" fmla="*/ 3175 h 3966350"/>
              <a:gd name="connsiteX0" fmla="*/ 0 w 3578976"/>
              <a:gd name="connsiteY0" fmla="*/ 3175 h 3966350"/>
              <a:gd name="connsiteX1" fmla="*/ 3264200 w 3578976"/>
              <a:gd name="connsiteY1" fmla="*/ 0 h 3966350"/>
              <a:gd name="connsiteX2" fmla="*/ 3323644 w 3578976"/>
              <a:gd name="connsiteY2" fmla="*/ 166544 h 3966350"/>
              <a:gd name="connsiteX3" fmla="*/ 3578825 w 3578976"/>
              <a:gd name="connsiteY3" fmla="*/ 1640275 h 3966350"/>
              <a:gd name="connsiteX4" fmla="*/ 3002082 w 3578976"/>
              <a:gd name="connsiteY4" fmla="*/ 3809471 h 3966350"/>
              <a:gd name="connsiteX5" fmla="*/ 2908600 w 3578976"/>
              <a:gd name="connsiteY5" fmla="*/ 3966350 h 3966350"/>
              <a:gd name="connsiteX6" fmla="*/ 0 w 3578976"/>
              <a:gd name="connsiteY6" fmla="*/ 3963175 h 3966350"/>
              <a:gd name="connsiteX7" fmla="*/ 0 w 3578976"/>
              <a:gd name="connsiteY7" fmla="*/ 3175 h 3966350"/>
              <a:gd name="connsiteX0" fmla="*/ 0 w 3579143"/>
              <a:gd name="connsiteY0" fmla="*/ 3175 h 3966350"/>
              <a:gd name="connsiteX1" fmla="*/ 3264200 w 3579143"/>
              <a:gd name="connsiteY1" fmla="*/ 0 h 3966350"/>
              <a:gd name="connsiteX2" fmla="*/ 3323644 w 3579143"/>
              <a:gd name="connsiteY2" fmla="*/ 166544 h 3966350"/>
              <a:gd name="connsiteX3" fmla="*/ 3578825 w 3579143"/>
              <a:gd name="connsiteY3" fmla="*/ 1640275 h 3966350"/>
              <a:gd name="connsiteX4" fmla="*/ 3002082 w 3579143"/>
              <a:gd name="connsiteY4" fmla="*/ 3809471 h 3966350"/>
              <a:gd name="connsiteX5" fmla="*/ 2908600 w 3579143"/>
              <a:gd name="connsiteY5" fmla="*/ 3966350 h 3966350"/>
              <a:gd name="connsiteX6" fmla="*/ 0 w 3579143"/>
              <a:gd name="connsiteY6" fmla="*/ 3963175 h 3966350"/>
              <a:gd name="connsiteX7" fmla="*/ 0 w 3579143"/>
              <a:gd name="connsiteY7" fmla="*/ 3175 h 3966350"/>
              <a:gd name="connsiteX0" fmla="*/ 0 w 3579143"/>
              <a:gd name="connsiteY0" fmla="*/ 3175 h 4131450"/>
              <a:gd name="connsiteX1" fmla="*/ 3264200 w 3579143"/>
              <a:gd name="connsiteY1" fmla="*/ 0 h 4131450"/>
              <a:gd name="connsiteX2" fmla="*/ 3323644 w 3579143"/>
              <a:gd name="connsiteY2" fmla="*/ 166544 h 4131450"/>
              <a:gd name="connsiteX3" fmla="*/ 3578825 w 3579143"/>
              <a:gd name="connsiteY3" fmla="*/ 1640275 h 4131450"/>
              <a:gd name="connsiteX4" fmla="*/ 3002082 w 3579143"/>
              <a:gd name="connsiteY4" fmla="*/ 3809471 h 4131450"/>
              <a:gd name="connsiteX5" fmla="*/ 3159425 w 3579143"/>
              <a:gd name="connsiteY5" fmla="*/ 4131450 h 4131450"/>
              <a:gd name="connsiteX6" fmla="*/ 0 w 3579143"/>
              <a:gd name="connsiteY6" fmla="*/ 3963175 h 4131450"/>
              <a:gd name="connsiteX7" fmla="*/ 0 w 3579143"/>
              <a:gd name="connsiteY7" fmla="*/ 3175 h 4131450"/>
              <a:gd name="connsiteX0" fmla="*/ 0 w 3579143"/>
              <a:gd name="connsiteY0" fmla="*/ 3175 h 3963175"/>
              <a:gd name="connsiteX1" fmla="*/ 3264200 w 3579143"/>
              <a:gd name="connsiteY1" fmla="*/ 0 h 3963175"/>
              <a:gd name="connsiteX2" fmla="*/ 3323644 w 3579143"/>
              <a:gd name="connsiteY2" fmla="*/ 166544 h 3963175"/>
              <a:gd name="connsiteX3" fmla="*/ 3578825 w 3579143"/>
              <a:gd name="connsiteY3" fmla="*/ 1640275 h 3963175"/>
              <a:gd name="connsiteX4" fmla="*/ 3002082 w 3579143"/>
              <a:gd name="connsiteY4" fmla="*/ 3809471 h 3963175"/>
              <a:gd name="connsiteX5" fmla="*/ 2905425 w 3579143"/>
              <a:gd name="connsiteY5" fmla="*/ 3963175 h 3963175"/>
              <a:gd name="connsiteX6" fmla="*/ 0 w 3579143"/>
              <a:gd name="connsiteY6" fmla="*/ 3963175 h 3963175"/>
              <a:gd name="connsiteX7" fmla="*/ 0 w 3579143"/>
              <a:gd name="connsiteY7" fmla="*/ 3175 h 3963175"/>
              <a:gd name="connsiteX0" fmla="*/ 0 w 3579143"/>
              <a:gd name="connsiteY0" fmla="*/ 3175 h 3963175"/>
              <a:gd name="connsiteX1" fmla="*/ 3264200 w 3579143"/>
              <a:gd name="connsiteY1" fmla="*/ 0 h 3963175"/>
              <a:gd name="connsiteX2" fmla="*/ 3323644 w 3579143"/>
              <a:gd name="connsiteY2" fmla="*/ 166544 h 3963175"/>
              <a:gd name="connsiteX3" fmla="*/ 3578825 w 3579143"/>
              <a:gd name="connsiteY3" fmla="*/ 1640275 h 3963175"/>
              <a:gd name="connsiteX4" fmla="*/ 3002082 w 3579143"/>
              <a:gd name="connsiteY4" fmla="*/ 3809471 h 3963175"/>
              <a:gd name="connsiteX5" fmla="*/ 2905425 w 3579143"/>
              <a:gd name="connsiteY5" fmla="*/ 3963175 h 3963175"/>
              <a:gd name="connsiteX6" fmla="*/ 0 w 3579143"/>
              <a:gd name="connsiteY6" fmla="*/ 3963175 h 3963175"/>
              <a:gd name="connsiteX7" fmla="*/ 0 w 3579143"/>
              <a:gd name="connsiteY7" fmla="*/ 3175 h 3963175"/>
              <a:gd name="connsiteX0" fmla="*/ 0 w 3579143"/>
              <a:gd name="connsiteY0" fmla="*/ 3175 h 3963175"/>
              <a:gd name="connsiteX1" fmla="*/ 3264200 w 3579143"/>
              <a:gd name="connsiteY1" fmla="*/ 0 h 3963175"/>
              <a:gd name="connsiteX2" fmla="*/ 3323644 w 3579143"/>
              <a:gd name="connsiteY2" fmla="*/ 166544 h 3963175"/>
              <a:gd name="connsiteX3" fmla="*/ 3578825 w 3579143"/>
              <a:gd name="connsiteY3" fmla="*/ 1640275 h 3963175"/>
              <a:gd name="connsiteX4" fmla="*/ 3002082 w 3579143"/>
              <a:gd name="connsiteY4" fmla="*/ 3809471 h 3963175"/>
              <a:gd name="connsiteX5" fmla="*/ 2905425 w 3579143"/>
              <a:gd name="connsiteY5" fmla="*/ 3963175 h 3963175"/>
              <a:gd name="connsiteX6" fmla="*/ 0 w 3579143"/>
              <a:gd name="connsiteY6" fmla="*/ 3963175 h 3963175"/>
              <a:gd name="connsiteX7" fmla="*/ 0 w 3579143"/>
              <a:gd name="connsiteY7" fmla="*/ 3175 h 39631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579143" h="3963175">
                <a:moveTo>
                  <a:pt x="0" y="3175"/>
                </a:moveTo>
                <a:lnTo>
                  <a:pt x="3264200" y="0"/>
                </a:lnTo>
                <a:cubicBezTo>
                  <a:pt x="3287387" y="61624"/>
                  <a:pt x="3301369" y="106419"/>
                  <a:pt x="3323644" y="166544"/>
                </a:cubicBezTo>
                <a:cubicBezTo>
                  <a:pt x="3491969" y="623544"/>
                  <a:pt x="3568919" y="877546"/>
                  <a:pt x="3578825" y="1640275"/>
                </a:cubicBezTo>
                <a:cubicBezTo>
                  <a:pt x="3588731" y="2403004"/>
                  <a:pt x="3367257" y="3165146"/>
                  <a:pt x="3002082" y="3809471"/>
                </a:cubicBezTo>
                <a:cubicBezTo>
                  <a:pt x="2973457" y="3863246"/>
                  <a:pt x="3011014" y="3800503"/>
                  <a:pt x="2905425" y="3963175"/>
                </a:cubicBezTo>
                <a:lnTo>
                  <a:pt x="0" y="3963175"/>
                </a:lnTo>
                <a:lnTo>
                  <a:pt x="0" y="3175"/>
                </a:lnTo>
                <a:close/>
              </a:path>
            </a:pathLst>
          </a:custGeom>
          <a:noFill/>
          <a:ln>
            <a:noFill/>
          </a:ln>
        </p:spPr>
        <p:txBody>
          <a:bodyPr lIns="720000" tIns="720000" rIns="720000" bIns="720000">
            <a:normAutofit/>
          </a:bodyPr>
          <a:lstStyle>
            <a:lvl1pPr marL="0" indent="0" algn="ctr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  <p:sp>
        <p:nvSpPr>
          <p:cNvPr id="12" name="Titel 7"/>
          <p:cNvSpPr>
            <a:spLocks noGrp="1"/>
          </p:cNvSpPr>
          <p:nvPr>
            <p:ph type="title" hasCustomPrompt="1"/>
          </p:nvPr>
        </p:nvSpPr>
        <p:spPr>
          <a:xfrm>
            <a:off x="490100" y="387429"/>
            <a:ext cx="11211800" cy="369332"/>
          </a:xfrm>
        </p:spPr>
        <p:txBody>
          <a:bodyPr/>
          <a:lstStyle/>
          <a:p>
            <a:r>
              <a:rPr lang="en-GB" noProof="0" dirty="0"/>
              <a:t>Click to add headline</a:t>
            </a:r>
          </a:p>
        </p:txBody>
      </p:sp>
      <p:sp>
        <p:nvSpPr>
          <p:cNvPr id="14" name="Inhaltsplatzhalter 11"/>
          <p:cNvSpPr>
            <a:spLocks noGrp="1"/>
          </p:cNvSpPr>
          <p:nvPr>
            <p:ph sz="quarter" idx="14" hasCustomPrompt="1"/>
          </p:nvPr>
        </p:nvSpPr>
        <p:spPr>
          <a:xfrm>
            <a:off x="5131199" y="1598400"/>
            <a:ext cx="6570701" cy="4526400"/>
          </a:xfrm>
        </p:spPr>
        <p:txBody>
          <a:bodyPr/>
          <a:lstStyle>
            <a:lvl1pPr>
              <a:defRPr baseline="0"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 noProof="0"/>
              <a:t>Click to add text</a:t>
            </a:r>
          </a:p>
        </p:txBody>
      </p:sp>
      <p:pic>
        <p:nvPicPr>
          <p:cNvPr id="13" name="Grafik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5924" y="6485509"/>
            <a:ext cx="840360" cy="2540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99419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ircle segment_0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 userDrawn="1"/>
        </p:nvSpPr>
        <p:spPr>
          <a:xfrm>
            <a:off x="0" y="2928494"/>
            <a:ext cx="12192000" cy="3929507"/>
          </a:xfrm>
          <a:prstGeom prst="rect">
            <a:avLst/>
          </a:prstGeom>
          <a:gradFill>
            <a:gsLst>
              <a:gs pos="0">
                <a:srgbClr val="6699CC">
                  <a:alpha val="40000"/>
                </a:srgbClr>
              </a:gs>
              <a:gs pos="100000">
                <a:srgbClr val="FFFFFF"/>
              </a:gs>
            </a:gsLst>
            <a:lin ang="162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sz="1400" noProof="0" dirty="0">
              <a:solidFill>
                <a:schemeClr val="tx1"/>
              </a:solidFill>
              <a:latin typeface="BISansOpti"/>
            </a:endParaRPr>
          </a:p>
        </p:txBody>
      </p:sp>
      <p:cxnSp>
        <p:nvCxnSpPr>
          <p:cNvPr id="5" name="Gerade Verbindung 4"/>
          <p:cNvCxnSpPr/>
          <p:nvPr userDrawn="1"/>
        </p:nvCxnSpPr>
        <p:spPr>
          <a:xfrm>
            <a:off x="0" y="971453"/>
            <a:ext cx="12192000" cy="0"/>
          </a:xfrm>
          <a:prstGeom prst="line">
            <a:avLst/>
          </a:prstGeom>
          <a:ln w="12700">
            <a:solidFill>
              <a:srgbClr val="0033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246E06-2055-48E7-AB79-58AF227E1AED}" type="datetime1">
              <a:rPr lang="en-GB" smtClean="0"/>
              <a:t>14/12/2021</a:t>
            </a:fld>
            <a:endParaRPr lang="en-GB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CMD T.C.M. / MCM</a:t>
            </a:r>
            <a:endParaRPr lang="en-GB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3B55C4-4F5A-416B-997D-6CE47EB0A94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" name="Rechteck 12"/>
          <p:cNvSpPr/>
          <p:nvPr userDrawn="1"/>
        </p:nvSpPr>
        <p:spPr>
          <a:xfrm>
            <a:off x="5" y="980018"/>
            <a:ext cx="4897308" cy="5281083"/>
          </a:xfrm>
          <a:custGeom>
            <a:avLst/>
            <a:gdLst/>
            <a:ahLst/>
            <a:cxnLst/>
            <a:rect l="l" t="t" r="r" b="b"/>
            <a:pathLst>
              <a:path w="3672981" h="3960812">
                <a:moveTo>
                  <a:pt x="0" y="0"/>
                </a:moveTo>
                <a:lnTo>
                  <a:pt x="3361658" y="0"/>
                </a:lnTo>
                <a:lnTo>
                  <a:pt x="3412473" y="127738"/>
                </a:lnTo>
                <a:cubicBezTo>
                  <a:pt x="3581102" y="597230"/>
                  <a:pt x="3672981" y="1103310"/>
                  <a:pt x="3672981" y="1630850"/>
                </a:cubicBezTo>
                <a:cubicBezTo>
                  <a:pt x="3672981" y="2378998"/>
                  <a:pt x="3488190" y="3083985"/>
                  <a:pt x="3161761" y="3702659"/>
                </a:cubicBezTo>
                <a:lnTo>
                  <a:pt x="3012298" y="3960812"/>
                </a:lnTo>
                <a:lnTo>
                  <a:pt x="0" y="3960812"/>
                </a:lnTo>
                <a:close/>
              </a:path>
            </a:pathLst>
          </a:custGeom>
          <a:solidFill>
            <a:schemeClr val="accent4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sz="1400" dirty="0" err="1">
              <a:solidFill>
                <a:schemeClr val="tx1"/>
              </a:solidFill>
              <a:latin typeface="BISansOpti"/>
            </a:endParaRPr>
          </a:p>
        </p:txBody>
      </p:sp>
      <p:sp>
        <p:nvSpPr>
          <p:cNvPr id="11" name="Bildplatzhalter 20"/>
          <p:cNvSpPr>
            <a:spLocks noGrp="1"/>
          </p:cNvSpPr>
          <p:nvPr>
            <p:ph type="pic" sz="quarter" idx="13"/>
          </p:nvPr>
        </p:nvSpPr>
        <p:spPr>
          <a:xfrm>
            <a:off x="-1" y="974967"/>
            <a:ext cx="4772191" cy="5284233"/>
          </a:xfrm>
          <a:custGeom>
            <a:avLst/>
            <a:gdLst>
              <a:gd name="connsiteX0" fmla="*/ 0 w 3582000"/>
              <a:gd name="connsiteY0" fmla="*/ 0 h 3960000"/>
              <a:gd name="connsiteX1" fmla="*/ 1791000 w 3582000"/>
              <a:gd name="connsiteY1" fmla="*/ 0 h 3960000"/>
              <a:gd name="connsiteX2" fmla="*/ 3582000 w 3582000"/>
              <a:gd name="connsiteY2" fmla="*/ 1980000 h 3960000"/>
              <a:gd name="connsiteX3" fmla="*/ 1791000 w 3582000"/>
              <a:gd name="connsiteY3" fmla="*/ 3960000 h 3960000"/>
              <a:gd name="connsiteX4" fmla="*/ 0 w 3582000"/>
              <a:gd name="connsiteY4" fmla="*/ 3960000 h 3960000"/>
              <a:gd name="connsiteX5" fmla="*/ 0 w 3582000"/>
              <a:gd name="connsiteY5" fmla="*/ 0 h 3960000"/>
              <a:gd name="connsiteX0" fmla="*/ 0 w 3669107"/>
              <a:gd name="connsiteY0" fmla="*/ 0 h 3960000"/>
              <a:gd name="connsiteX1" fmla="*/ 1791000 w 3669107"/>
              <a:gd name="connsiteY1" fmla="*/ 0 h 3960000"/>
              <a:gd name="connsiteX2" fmla="*/ 3225219 w 3669107"/>
              <a:gd name="connsiteY2" fmla="*/ 807894 h 3960000"/>
              <a:gd name="connsiteX3" fmla="*/ 3582000 w 3669107"/>
              <a:gd name="connsiteY3" fmla="*/ 1980000 h 3960000"/>
              <a:gd name="connsiteX4" fmla="*/ 1791000 w 3669107"/>
              <a:gd name="connsiteY4" fmla="*/ 3960000 h 3960000"/>
              <a:gd name="connsiteX5" fmla="*/ 0 w 3669107"/>
              <a:gd name="connsiteY5" fmla="*/ 3960000 h 3960000"/>
              <a:gd name="connsiteX6" fmla="*/ 0 w 3669107"/>
              <a:gd name="connsiteY6" fmla="*/ 0 h 3960000"/>
              <a:gd name="connsiteX0" fmla="*/ 0 w 3597300"/>
              <a:gd name="connsiteY0" fmla="*/ 0 h 3960000"/>
              <a:gd name="connsiteX1" fmla="*/ 1791000 w 3597300"/>
              <a:gd name="connsiteY1" fmla="*/ 0 h 3960000"/>
              <a:gd name="connsiteX2" fmla="*/ 3225219 w 3597300"/>
              <a:gd name="connsiteY2" fmla="*/ 807894 h 3960000"/>
              <a:gd name="connsiteX3" fmla="*/ 3582000 w 3597300"/>
              <a:gd name="connsiteY3" fmla="*/ 1980000 h 3960000"/>
              <a:gd name="connsiteX4" fmla="*/ 2862382 w 3597300"/>
              <a:gd name="connsiteY4" fmla="*/ 3307821 h 3960000"/>
              <a:gd name="connsiteX5" fmla="*/ 1791000 w 3597300"/>
              <a:gd name="connsiteY5" fmla="*/ 3960000 h 3960000"/>
              <a:gd name="connsiteX6" fmla="*/ 0 w 3597300"/>
              <a:gd name="connsiteY6" fmla="*/ 3960000 h 3960000"/>
              <a:gd name="connsiteX7" fmla="*/ 0 w 3597300"/>
              <a:gd name="connsiteY7" fmla="*/ 0 h 3960000"/>
              <a:gd name="connsiteX0" fmla="*/ 0 w 3597300"/>
              <a:gd name="connsiteY0" fmla="*/ 0 h 3960000"/>
              <a:gd name="connsiteX1" fmla="*/ 3261025 w 3597300"/>
              <a:gd name="connsiteY1" fmla="*/ 3175 h 3960000"/>
              <a:gd name="connsiteX2" fmla="*/ 3225219 w 3597300"/>
              <a:gd name="connsiteY2" fmla="*/ 807894 h 3960000"/>
              <a:gd name="connsiteX3" fmla="*/ 3582000 w 3597300"/>
              <a:gd name="connsiteY3" fmla="*/ 1980000 h 3960000"/>
              <a:gd name="connsiteX4" fmla="*/ 2862382 w 3597300"/>
              <a:gd name="connsiteY4" fmla="*/ 3307821 h 3960000"/>
              <a:gd name="connsiteX5" fmla="*/ 1791000 w 3597300"/>
              <a:gd name="connsiteY5" fmla="*/ 3960000 h 3960000"/>
              <a:gd name="connsiteX6" fmla="*/ 0 w 3597300"/>
              <a:gd name="connsiteY6" fmla="*/ 3960000 h 3960000"/>
              <a:gd name="connsiteX7" fmla="*/ 0 w 3597300"/>
              <a:gd name="connsiteY7" fmla="*/ 0 h 3960000"/>
              <a:gd name="connsiteX0" fmla="*/ 0 w 3597300"/>
              <a:gd name="connsiteY0" fmla="*/ 0 h 3960000"/>
              <a:gd name="connsiteX1" fmla="*/ 3019725 w 3597300"/>
              <a:gd name="connsiteY1" fmla="*/ 282575 h 3960000"/>
              <a:gd name="connsiteX2" fmla="*/ 3225219 w 3597300"/>
              <a:gd name="connsiteY2" fmla="*/ 807894 h 3960000"/>
              <a:gd name="connsiteX3" fmla="*/ 3582000 w 3597300"/>
              <a:gd name="connsiteY3" fmla="*/ 1980000 h 3960000"/>
              <a:gd name="connsiteX4" fmla="*/ 2862382 w 3597300"/>
              <a:gd name="connsiteY4" fmla="*/ 3307821 h 3960000"/>
              <a:gd name="connsiteX5" fmla="*/ 1791000 w 3597300"/>
              <a:gd name="connsiteY5" fmla="*/ 3960000 h 3960000"/>
              <a:gd name="connsiteX6" fmla="*/ 0 w 3597300"/>
              <a:gd name="connsiteY6" fmla="*/ 3960000 h 3960000"/>
              <a:gd name="connsiteX7" fmla="*/ 0 w 3597300"/>
              <a:gd name="connsiteY7" fmla="*/ 0 h 3960000"/>
              <a:gd name="connsiteX0" fmla="*/ 0 w 3597300"/>
              <a:gd name="connsiteY0" fmla="*/ 3175 h 3963175"/>
              <a:gd name="connsiteX1" fmla="*/ 3264200 w 3597300"/>
              <a:gd name="connsiteY1" fmla="*/ 0 h 3963175"/>
              <a:gd name="connsiteX2" fmla="*/ 3225219 w 3597300"/>
              <a:gd name="connsiteY2" fmla="*/ 811069 h 3963175"/>
              <a:gd name="connsiteX3" fmla="*/ 3582000 w 3597300"/>
              <a:gd name="connsiteY3" fmla="*/ 1983175 h 3963175"/>
              <a:gd name="connsiteX4" fmla="*/ 2862382 w 3597300"/>
              <a:gd name="connsiteY4" fmla="*/ 3310996 h 3963175"/>
              <a:gd name="connsiteX5" fmla="*/ 1791000 w 3597300"/>
              <a:gd name="connsiteY5" fmla="*/ 3963175 h 3963175"/>
              <a:gd name="connsiteX6" fmla="*/ 0 w 3597300"/>
              <a:gd name="connsiteY6" fmla="*/ 3963175 h 3963175"/>
              <a:gd name="connsiteX7" fmla="*/ 0 w 3597300"/>
              <a:gd name="connsiteY7" fmla="*/ 3175 h 3963175"/>
              <a:gd name="connsiteX0" fmla="*/ 0 w 3597300"/>
              <a:gd name="connsiteY0" fmla="*/ 3175 h 3963175"/>
              <a:gd name="connsiteX1" fmla="*/ 3264200 w 3597300"/>
              <a:gd name="connsiteY1" fmla="*/ 0 h 3963175"/>
              <a:gd name="connsiteX2" fmla="*/ 3225219 w 3597300"/>
              <a:gd name="connsiteY2" fmla="*/ 811069 h 3963175"/>
              <a:gd name="connsiteX3" fmla="*/ 3582000 w 3597300"/>
              <a:gd name="connsiteY3" fmla="*/ 1983175 h 3963175"/>
              <a:gd name="connsiteX4" fmla="*/ 2862382 w 3597300"/>
              <a:gd name="connsiteY4" fmla="*/ 3310996 h 3963175"/>
              <a:gd name="connsiteX5" fmla="*/ 1791000 w 3597300"/>
              <a:gd name="connsiteY5" fmla="*/ 3963175 h 3963175"/>
              <a:gd name="connsiteX6" fmla="*/ 0 w 3597300"/>
              <a:gd name="connsiteY6" fmla="*/ 3963175 h 3963175"/>
              <a:gd name="connsiteX7" fmla="*/ 0 w 3597300"/>
              <a:gd name="connsiteY7" fmla="*/ 3175 h 3963175"/>
              <a:gd name="connsiteX0" fmla="*/ 0 w 3616616"/>
              <a:gd name="connsiteY0" fmla="*/ 21630 h 3981630"/>
              <a:gd name="connsiteX1" fmla="*/ 3264200 w 3616616"/>
              <a:gd name="connsiteY1" fmla="*/ 18455 h 3981630"/>
              <a:gd name="connsiteX2" fmla="*/ 3323644 w 3616616"/>
              <a:gd name="connsiteY2" fmla="*/ 184999 h 3981630"/>
              <a:gd name="connsiteX3" fmla="*/ 3582000 w 3616616"/>
              <a:gd name="connsiteY3" fmla="*/ 2001630 h 3981630"/>
              <a:gd name="connsiteX4" fmla="*/ 2862382 w 3616616"/>
              <a:gd name="connsiteY4" fmla="*/ 3329451 h 3981630"/>
              <a:gd name="connsiteX5" fmla="*/ 1791000 w 3616616"/>
              <a:gd name="connsiteY5" fmla="*/ 3981630 h 3981630"/>
              <a:gd name="connsiteX6" fmla="*/ 0 w 3616616"/>
              <a:gd name="connsiteY6" fmla="*/ 3981630 h 3981630"/>
              <a:gd name="connsiteX7" fmla="*/ 0 w 3616616"/>
              <a:gd name="connsiteY7" fmla="*/ 21630 h 3981630"/>
              <a:gd name="connsiteX0" fmla="*/ 0 w 3616616"/>
              <a:gd name="connsiteY0" fmla="*/ 3175 h 3963175"/>
              <a:gd name="connsiteX1" fmla="*/ 3264200 w 3616616"/>
              <a:gd name="connsiteY1" fmla="*/ 0 h 3963175"/>
              <a:gd name="connsiteX2" fmla="*/ 3323644 w 3616616"/>
              <a:gd name="connsiteY2" fmla="*/ 166544 h 3963175"/>
              <a:gd name="connsiteX3" fmla="*/ 3582000 w 3616616"/>
              <a:gd name="connsiteY3" fmla="*/ 1983175 h 3963175"/>
              <a:gd name="connsiteX4" fmla="*/ 2862382 w 3616616"/>
              <a:gd name="connsiteY4" fmla="*/ 3310996 h 3963175"/>
              <a:gd name="connsiteX5" fmla="*/ 1791000 w 3616616"/>
              <a:gd name="connsiteY5" fmla="*/ 3963175 h 3963175"/>
              <a:gd name="connsiteX6" fmla="*/ 0 w 3616616"/>
              <a:gd name="connsiteY6" fmla="*/ 3963175 h 3963175"/>
              <a:gd name="connsiteX7" fmla="*/ 0 w 3616616"/>
              <a:gd name="connsiteY7" fmla="*/ 3175 h 3963175"/>
              <a:gd name="connsiteX0" fmla="*/ 0 w 3601265"/>
              <a:gd name="connsiteY0" fmla="*/ 3175 h 3963175"/>
              <a:gd name="connsiteX1" fmla="*/ 3264200 w 3601265"/>
              <a:gd name="connsiteY1" fmla="*/ 0 h 3963175"/>
              <a:gd name="connsiteX2" fmla="*/ 3323644 w 3601265"/>
              <a:gd name="connsiteY2" fmla="*/ 166544 h 3963175"/>
              <a:gd name="connsiteX3" fmla="*/ 3582000 w 3601265"/>
              <a:gd name="connsiteY3" fmla="*/ 1983175 h 3963175"/>
              <a:gd name="connsiteX4" fmla="*/ 2862382 w 3601265"/>
              <a:gd name="connsiteY4" fmla="*/ 3310996 h 3963175"/>
              <a:gd name="connsiteX5" fmla="*/ 1791000 w 3601265"/>
              <a:gd name="connsiteY5" fmla="*/ 3963175 h 3963175"/>
              <a:gd name="connsiteX6" fmla="*/ 0 w 3601265"/>
              <a:gd name="connsiteY6" fmla="*/ 3963175 h 3963175"/>
              <a:gd name="connsiteX7" fmla="*/ 0 w 3601265"/>
              <a:gd name="connsiteY7" fmla="*/ 3175 h 3963175"/>
              <a:gd name="connsiteX0" fmla="*/ 0 w 3364734"/>
              <a:gd name="connsiteY0" fmla="*/ 3175 h 3963175"/>
              <a:gd name="connsiteX1" fmla="*/ 3264200 w 3364734"/>
              <a:gd name="connsiteY1" fmla="*/ 0 h 3963175"/>
              <a:gd name="connsiteX2" fmla="*/ 3323644 w 3364734"/>
              <a:gd name="connsiteY2" fmla="*/ 166544 h 3963175"/>
              <a:gd name="connsiteX3" fmla="*/ 3016850 w 3364734"/>
              <a:gd name="connsiteY3" fmla="*/ 1614875 h 3963175"/>
              <a:gd name="connsiteX4" fmla="*/ 2862382 w 3364734"/>
              <a:gd name="connsiteY4" fmla="*/ 3310996 h 3963175"/>
              <a:gd name="connsiteX5" fmla="*/ 1791000 w 3364734"/>
              <a:gd name="connsiteY5" fmla="*/ 3963175 h 3963175"/>
              <a:gd name="connsiteX6" fmla="*/ 0 w 3364734"/>
              <a:gd name="connsiteY6" fmla="*/ 3963175 h 3963175"/>
              <a:gd name="connsiteX7" fmla="*/ 0 w 3364734"/>
              <a:gd name="connsiteY7" fmla="*/ 3175 h 3963175"/>
              <a:gd name="connsiteX0" fmla="*/ 0 w 3598344"/>
              <a:gd name="connsiteY0" fmla="*/ 3175 h 3963175"/>
              <a:gd name="connsiteX1" fmla="*/ 3264200 w 3598344"/>
              <a:gd name="connsiteY1" fmla="*/ 0 h 3963175"/>
              <a:gd name="connsiteX2" fmla="*/ 3323644 w 3598344"/>
              <a:gd name="connsiteY2" fmla="*/ 166544 h 3963175"/>
              <a:gd name="connsiteX3" fmla="*/ 3578825 w 3598344"/>
              <a:gd name="connsiteY3" fmla="*/ 1640275 h 3963175"/>
              <a:gd name="connsiteX4" fmla="*/ 2862382 w 3598344"/>
              <a:gd name="connsiteY4" fmla="*/ 3310996 h 3963175"/>
              <a:gd name="connsiteX5" fmla="*/ 1791000 w 3598344"/>
              <a:gd name="connsiteY5" fmla="*/ 3963175 h 3963175"/>
              <a:gd name="connsiteX6" fmla="*/ 0 w 3598344"/>
              <a:gd name="connsiteY6" fmla="*/ 3963175 h 3963175"/>
              <a:gd name="connsiteX7" fmla="*/ 0 w 3598344"/>
              <a:gd name="connsiteY7" fmla="*/ 3175 h 3963175"/>
              <a:gd name="connsiteX0" fmla="*/ 0 w 3612056"/>
              <a:gd name="connsiteY0" fmla="*/ 3175 h 3963175"/>
              <a:gd name="connsiteX1" fmla="*/ 3264200 w 3612056"/>
              <a:gd name="connsiteY1" fmla="*/ 0 h 3963175"/>
              <a:gd name="connsiteX2" fmla="*/ 3323644 w 3612056"/>
              <a:gd name="connsiteY2" fmla="*/ 166544 h 3963175"/>
              <a:gd name="connsiteX3" fmla="*/ 3578825 w 3612056"/>
              <a:gd name="connsiteY3" fmla="*/ 1640275 h 3963175"/>
              <a:gd name="connsiteX4" fmla="*/ 2862382 w 3612056"/>
              <a:gd name="connsiteY4" fmla="*/ 3310996 h 3963175"/>
              <a:gd name="connsiteX5" fmla="*/ 1791000 w 3612056"/>
              <a:gd name="connsiteY5" fmla="*/ 3963175 h 3963175"/>
              <a:gd name="connsiteX6" fmla="*/ 0 w 3612056"/>
              <a:gd name="connsiteY6" fmla="*/ 3963175 h 3963175"/>
              <a:gd name="connsiteX7" fmla="*/ 0 w 3612056"/>
              <a:gd name="connsiteY7" fmla="*/ 3175 h 3963175"/>
              <a:gd name="connsiteX0" fmla="*/ 0 w 3635528"/>
              <a:gd name="connsiteY0" fmla="*/ 3175 h 3963175"/>
              <a:gd name="connsiteX1" fmla="*/ 3264200 w 3635528"/>
              <a:gd name="connsiteY1" fmla="*/ 0 h 3963175"/>
              <a:gd name="connsiteX2" fmla="*/ 3323644 w 3635528"/>
              <a:gd name="connsiteY2" fmla="*/ 166544 h 3963175"/>
              <a:gd name="connsiteX3" fmla="*/ 3578825 w 3635528"/>
              <a:gd name="connsiteY3" fmla="*/ 1640275 h 3963175"/>
              <a:gd name="connsiteX4" fmla="*/ 2862382 w 3635528"/>
              <a:gd name="connsiteY4" fmla="*/ 3310996 h 3963175"/>
              <a:gd name="connsiteX5" fmla="*/ 1791000 w 3635528"/>
              <a:gd name="connsiteY5" fmla="*/ 3963175 h 3963175"/>
              <a:gd name="connsiteX6" fmla="*/ 0 w 3635528"/>
              <a:gd name="connsiteY6" fmla="*/ 3963175 h 3963175"/>
              <a:gd name="connsiteX7" fmla="*/ 0 w 3635528"/>
              <a:gd name="connsiteY7" fmla="*/ 3175 h 3963175"/>
              <a:gd name="connsiteX0" fmla="*/ 0 w 3578828"/>
              <a:gd name="connsiteY0" fmla="*/ 3175 h 3963175"/>
              <a:gd name="connsiteX1" fmla="*/ 3264200 w 3578828"/>
              <a:gd name="connsiteY1" fmla="*/ 0 h 3963175"/>
              <a:gd name="connsiteX2" fmla="*/ 3323644 w 3578828"/>
              <a:gd name="connsiteY2" fmla="*/ 166544 h 3963175"/>
              <a:gd name="connsiteX3" fmla="*/ 3578825 w 3578828"/>
              <a:gd name="connsiteY3" fmla="*/ 1640275 h 3963175"/>
              <a:gd name="connsiteX4" fmla="*/ 2862382 w 3578828"/>
              <a:gd name="connsiteY4" fmla="*/ 3310996 h 3963175"/>
              <a:gd name="connsiteX5" fmla="*/ 1791000 w 3578828"/>
              <a:gd name="connsiteY5" fmla="*/ 3963175 h 3963175"/>
              <a:gd name="connsiteX6" fmla="*/ 0 w 3578828"/>
              <a:gd name="connsiteY6" fmla="*/ 3963175 h 3963175"/>
              <a:gd name="connsiteX7" fmla="*/ 0 w 3578828"/>
              <a:gd name="connsiteY7" fmla="*/ 3175 h 3963175"/>
              <a:gd name="connsiteX0" fmla="*/ 0 w 3578942"/>
              <a:gd name="connsiteY0" fmla="*/ 3175 h 3963175"/>
              <a:gd name="connsiteX1" fmla="*/ 3264200 w 3578942"/>
              <a:gd name="connsiteY1" fmla="*/ 0 h 3963175"/>
              <a:gd name="connsiteX2" fmla="*/ 3323644 w 3578942"/>
              <a:gd name="connsiteY2" fmla="*/ 166544 h 3963175"/>
              <a:gd name="connsiteX3" fmla="*/ 3578825 w 3578942"/>
              <a:gd name="connsiteY3" fmla="*/ 1640275 h 3963175"/>
              <a:gd name="connsiteX4" fmla="*/ 2862382 w 3578942"/>
              <a:gd name="connsiteY4" fmla="*/ 3310996 h 3963175"/>
              <a:gd name="connsiteX5" fmla="*/ 1791000 w 3578942"/>
              <a:gd name="connsiteY5" fmla="*/ 3963175 h 3963175"/>
              <a:gd name="connsiteX6" fmla="*/ 0 w 3578942"/>
              <a:gd name="connsiteY6" fmla="*/ 3963175 h 3963175"/>
              <a:gd name="connsiteX7" fmla="*/ 0 w 3578942"/>
              <a:gd name="connsiteY7" fmla="*/ 3175 h 3963175"/>
              <a:gd name="connsiteX0" fmla="*/ 0 w 3578942"/>
              <a:gd name="connsiteY0" fmla="*/ 3175 h 3963175"/>
              <a:gd name="connsiteX1" fmla="*/ 3264200 w 3578942"/>
              <a:gd name="connsiteY1" fmla="*/ 0 h 3963175"/>
              <a:gd name="connsiteX2" fmla="*/ 3323644 w 3578942"/>
              <a:gd name="connsiteY2" fmla="*/ 166544 h 3963175"/>
              <a:gd name="connsiteX3" fmla="*/ 3578825 w 3578942"/>
              <a:gd name="connsiteY3" fmla="*/ 1640275 h 3963175"/>
              <a:gd name="connsiteX4" fmla="*/ 2862382 w 3578942"/>
              <a:gd name="connsiteY4" fmla="*/ 3310996 h 3963175"/>
              <a:gd name="connsiteX5" fmla="*/ 1791000 w 3578942"/>
              <a:gd name="connsiteY5" fmla="*/ 3963175 h 3963175"/>
              <a:gd name="connsiteX6" fmla="*/ 0 w 3578942"/>
              <a:gd name="connsiteY6" fmla="*/ 3963175 h 3963175"/>
              <a:gd name="connsiteX7" fmla="*/ 0 w 3578942"/>
              <a:gd name="connsiteY7" fmla="*/ 3175 h 3963175"/>
              <a:gd name="connsiteX0" fmla="*/ 0 w 3590408"/>
              <a:gd name="connsiteY0" fmla="*/ 3175 h 3974831"/>
              <a:gd name="connsiteX1" fmla="*/ 3264200 w 3590408"/>
              <a:gd name="connsiteY1" fmla="*/ 0 h 3974831"/>
              <a:gd name="connsiteX2" fmla="*/ 3323644 w 3590408"/>
              <a:gd name="connsiteY2" fmla="*/ 166544 h 3974831"/>
              <a:gd name="connsiteX3" fmla="*/ 3578825 w 3590408"/>
              <a:gd name="connsiteY3" fmla="*/ 1640275 h 3974831"/>
              <a:gd name="connsiteX4" fmla="*/ 3002082 w 3590408"/>
              <a:gd name="connsiteY4" fmla="*/ 3809471 h 3974831"/>
              <a:gd name="connsiteX5" fmla="*/ 1791000 w 3590408"/>
              <a:gd name="connsiteY5" fmla="*/ 3963175 h 3974831"/>
              <a:gd name="connsiteX6" fmla="*/ 0 w 3590408"/>
              <a:gd name="connsiteY6" fmla="*/ 3963175 h 3974831"/>
              <a:gd name="connsiteX7" fmla="*/ 0 w 3590408"/>
              <a:gd name="connsiteY7" fmla="*/ 3175 h 3974831"/>
              <a:gd name="connsiteX0" fmla="*/ 0 w 3590408"/>
              <a:gd name="connsiteY0" fmla="*/ 3175 h 3974831"/>
              <a:gd name="connsiteX1" fmla="*/ 3264200 w 3590408"/>
              <a:gd name="connsiteY1" fmla="*/ 0 h 3974831"/>
              <a:gd name="connsiteX2" fmla="*/ 3323644 w 3590408"/>
              <a:gd name="connsiteY2" fmla="*/ 166544 h 3974831"/>
              <a:gd name="connsiteX3" fmla="*/ 3578825 w 3590408"/>
              <a:gd name="connsiteY3" fmla="*/ 1640275 h 3974831"/>
              <a:gd name="connsiteX4" fmla="*/ 3002082 w 3590408"/>
              <a:gd name="connsiteY4" fmla="*/ 3809471 h 3974831"/>
              <a:gd name="connsiteX5" fmla="*/ 1791000 w 3590408"/>
              <a:gd name="connsiteY5" fmla="*/ 3963175 h 3974831"/>
              <a:gd name="connsiteX6" fmla="*/ 0 w 3590408"/>
              <a:gd name="connsiteY6" fmla="*/ 3963175 h 3974831"/>
              <a:gd name="connsiteX7" fmla="*/ 0 w 3590408"/>
              <a:gd name="connsiteY7" fmla="*/ 3175 h 3974831"/>
              <a:gd name="connsiteX0" fmla="*/ 0 w 3590408"/>
              <a:gd name="connsiteY0" fmla="*/ 3175 h 3975950"/>
              <a:gd name="connsiteX1" fmla="*/ 3264200 w 3590408"/>
              <a:gd name="connsiteY1" fmla="*/ 0 h 3975950"/>
              <a:gd name="connsiteX2" fmla="*/ 3323644 w 3590408"/>
              <a:gd name="connsiteY2" fmla="*/ 166544 h 3975950"/>
              <a:gd name="connsiteX3" fmla="*/ 3578825 w 3590408"/>
              <a:gd name="connsiteY3" fmla="*/ 1640275 h 3975950"/>
              <a:gd name="connsiteX4" fmla="*/ 3002082 w 3590408"/>
              <a:gd name="connsiteY4" fmla="*/ 3809471 h 3975950"/>
              <a:gd name="connsiteX5" fmla="*/ 2908600 w 3590408"/>
              <a:gd name="connsiteY5" fmla="*/ 3966350 h 3975950"/>
              <a:gd name="connsiteX6" fmla="*/ 0 w 3590408"/>
              <a:gd name="connsiteY6" fmla="*/ 3963175 h 3975950"/>
              <a:gd name="connsiteX7" fmla="*/ 0 w 3590408"/>
              <a:gd name="connsiteY7" fmla="*/ 3175 h 3975950"/>
              <a:gd name="connsiteX0" fmla="*/ 0 w 3590408"/>
              <a:gd name="connsiteY0" fmla="*/ 3175 h 3966350"/>
              <a:gd name="connsiteX1" fmla="*/ 3264200 w 3590408"/>
              <a:gd name="connsiteY1" fmla="*/ 0 h 3966350"/>
              <a:gd name="connsiteX2" fmla="*/ 3323644 w 3590408"/>
              <a:gd name="connsiteY2" fmla="*/ 166544 h 3966350"/>
              <a:gd name="connsiteX3" fmla="*/ 3578825 w 3590408"/>
              <a:gd name="connsiteY3" fmla="*/ 1640275 h 3966350"/>
              <a:gd name="connsiteX4" fmla="*/ 3002082 w 3590408"/>
              <a:gd name="connsiteY4" fmla="*/ 3809471 h 3966350"/>
              <a:gd name="connsiteX5" fmla="*/ 2908600 w 3590408"/>
              <a:gd name="connsiteY5" fmla="*/ 3966350 h 3966350"/>
              <a:gd name="connsiteX6" fmla="*/ 0 w 3590408"/>
              <a:gd name="connsiteY6" fmla="*/ 3963175 h 3966350"/>
              <a:gd name="connsiteX7" fmla="*/ 0 w 3590408"/>
              <a:gd name="connsiteY7" fmla="*/ 3175 h 3966350"/>
              <a:gd name="connsiteX0" fmla="*/ 0 w 3590408"/>
              <a:gd name="connsiteY0" fmla="*/ 3175 h 3966350"/>
              <a:gd name="connsiteX1" fmla="*/ 3264200 w 3590408"/>
              <a:gd name="connsiteY1" fmla="*/ 0 h 3966350"/>
              <a:gd name="connsiteX2" fmla="*/ 3323644 w 3590408"/>
              <a:gd name="connsiteY2" fmla="*/ 166544 h 3966350"/>
              <a:gd name="connsiteX3" fmla="*/ 3578825 w 3590408"/>
              <a:gd name="connsiteY3" fmla="*/ 1640275 h 3966350"/>
              <a:gd name="connsiteX4" fmla="*/ 3002082 w 3590408"/>
              <a:gd name="connsiteY4" fmla="*/ 3809471 h 3966350"/>
              <a:gd name="connsiteX5" fmla="*/ 2908600 w 3590408"/>
              <a:gd name="connsiteY5" fmla="*/ 3966350 h 3966350"/>
              <a:gd name="connsiteX6" fmla="*/ 0 w 3590408"/>
              <a:gd name="connsiteY6" fmla="*/ 3963175 h 3966350"/>
              <a:gd name="connsiteX7" fmla="*/ 0 w 3590408"/>
              <a:gd name="connsiteY7" fmla="*/ 3175 h 3966350"/>
              <a:gd name="connsiteX0" fmla="*/ 0 w 3590408"/>
              <a:gd name="connsiteY0" fmla="*/ 3175 h 3966350"/>
              <a:gd name="connsiteX1" fmla="*/ 3264200 w 3590408"/>
              <a:gd name="connsiteY1" fmla="*/ 0 h 3966350"/>
              <a:gd name="connsiteX2" fmla="*/ 3323644 w 3590408"/>
              <a:gd name="connsiteY2" fmla="*/ 166544 h 3966350"/>
              <a:gd name="connsiteX3" fmla="*/ 3578825 w 3590408"/>
              <a:gd name="connsiteY3" fmla="*/ 1640275 h 3966350"/>
              <a:gd name="connsiteX4" fmla="*/ 3002082 w 3590408"/>
              <a:gd name="connsiteY4" fmla="*/ 3809471 h 3966350"/>
              <a:gd name="connsiteX5" fmla="*/ 2908600 w 3590408"/>
              <a:gd name="connsiteY5" fmla="*/ 3966350 h 3966350"/>
              <a:gd name="connsiteX6" fmla="*/ 0 w 3590408"/>
              <a:gd name="connsiteY6" fmla="*/ 3963175 h 3966350"/>
              <a:gd name="connsiteX7" fmla="*/ 0 w 3590408"/>
              <a:gd name="connsiteY7" fmla="*/ 3175 h 3966350"/>
              <a:gd name="connsiteX0" fmla="*/ 0 w 3580367"/>
              <a:gd name="connsiteY0" fmla="*/ 3175 h 3966350"/>
              <a:gd name="connsiteX1" fmla="*/ 3264200 w 3580367"/>
              <a:gd name="connsiteY1" fmla="*/ 0 h 3966350"/>
              <a:gd name="connsiteX2" fmla="*/ 3323644 w 3580367"/>
              <a:gd name="connsiteY2" fmla="*/ 166544 h 3966350"/>
              <a:gd name="connsiteX3" fmla="*/ 3578825 w 3580367"/>
              <a:gd name="connsiteY3" fmla="*/ 1640275 h 3966350"/>
              <a:gd name="connsiteX4" fmla="*/ 3002082 w 3580367"/>
              <a:gd name="connsiteY4" fmla="*/ 3809471 h 3966350"/>
              <a:gd name="connsiteX5" fmla="*/ 2908600 w 3580367"/>
              <a:gd name="connsiteY5" fmla="*/ 3966350 h 3966350"/>
              <a:gd name="connsiteX6" fmla="*/ 0 w 3580367"/>
              <a:gd name="connsiteY6" fmla="*/ 3963175 h 3966350"/>
              <a:gd name="connsiteX7" fmla="*/ 0 w 3580367"/>
              <a:gd name="connsiteY7" fmla="*/ 3175 h 3966350"/>
              <a:gd name="connsiteX0" fmla="*/ 0 w 3578976"/>
              <a:gd name="connsiteY0" fmla="*/ 3175 h 3966350"/>
              <a:gd name="connsiteX1" fmla="*/ 3264200 w 3578976"/>
              <a:gd name="connsiteY1" fmla="*/ 0 h 3966350"/>
              <a:gd name="connsiteX2" fmla="*/ 3323644 w 3578976"/>
              <a:gd name="connsiteY2" fmla="*/ 166544 h 3966350"/>
              <a:gd name="connsiteX3" fmla="*/ 3578825 w 3578976"/>
              <a:gd name="connsiteY3" fmla="*/ 1640275 h 3966350"/>
              <a:gd name="connsiteX4" fmla="*/ 3002082 w 3578976"/>
              <a:gd name="connsiteY4" fmla="*/ 3809471 h 3966350"/>
              <a:gd name="connsiteX5" fmla="*/ 2908600 w 3578976"/>
              <a:gd name="connsiteY5" fmla="*/ 3966350 h 3966350"/>
              <a:gd name="connsiteX6" fmla="*/ 0 w 3578976"/>
              <a:gd name="connsiteY6" fmla="*/ 3963175 h 3966350"/>
              <a:gd name="connsiteX7" fmla="*/ 0 w 3578976"/>
              <a:gd name="connsiteY7" fmla="*/ 3175 h 3966350"/>
              <a:gd name="connsiteX0" fmla="*/ 0 w 3579143"/>
              <a:gd name="connsiteY0" fmla="*/ 3175 h 3966350"/>
              <a:gd name="connsiteX1" fmla="*/ 3264200 w 3579143"/>
              <a:gd name="connsiteY1" fmla="*/ 0 h 3966350"/>
              <a:gd name="connsiteX2" fmla="*/ 3323644 w 3579143"/>
              <a:gd name="connsiteY2" fmla="*/ 166544 h 3966350"/>
              <a:gd name="connsiteX3" fmla="*/ 3578825 w 3579143"/>
              <a:gd name="connsiteY3" fmla="*/ 1640275 h 3966350"/>
              <a:gd name="connsiteX4" fmla="*/ 3002082 w 3579143"/>
              <a:gd name="connsiteY4" fmla="*/ 3809471 h 3966350"/>
              <a:gd name="connsiteX5" fmla="*/ 2908600 w 3579143"/>
              <a:gd name="connsiteY5" fmla="*/ 3966350 h 3966350"/>
              <a:gd name="connsiteX6" fmla="*/ 0 w 3579143"/>
              <a:gd name="connsiteY6" fmla="*/ 3963175 h 3966350"/>
              <a:gd name="connsiteX7" fmla="*/ 0 w 3579143"/>
              <a:gd name="connsiteY7" fmla="*/ 3175 h 3966350"/>
              <a:gd name="connsiteX0" fmla="*/ 0 w 3579143"/>
              <a:gd name="connsiteY0" fmla="*/ 3175 h 4131450"/>
              <a:gd name="connsiteX1" fmla="*/ 3264200 w 3579143"/>
              <a:gd name="connsiteY1" fmla="*/ 0 h 4131450"/>
              <a:gd name="connsiteX2" fmla="*/ 3323644 w 3579143"/>
              <a:gd name="connsiteY2" fmla="*/ 166544 h 4131450"/>
              <a:gd name="connsiteX3" fmla="*/ 3578825 w 3579143"/>
              <a:gd name="connsiteY3" fmla="*/ 1640275 h 4131450"/>
              <a:gd name="connsiteX4" fmla="*/ 3002082 w 3579143"/>
              <a:gd name="connsiteY4" fmla="*/ 3809471 h 4131450"/>
              <a:gd name="connsiteX5" fmla="*/ 3159425 w 3579143"/>
              <a:gd name="connsiteY5" fmla="*/ 4131450 h 4131450"/>
              <a:gd name="connsiteX6" fmla="*/ 0 w 3579143"/>
              <a:gd name="connsiteY6" fmla="*/ 3963175 h 4131450"/>
              <a:gd name="connsiteX7" fmla="*/ 0 w 3579143"/>
              <a:gd name="connsiteY7" fmla="*/ 3175 h 4131450"/>
              <a:gd name="connsiteX0" fmla="*/ 0 w 3579143"/>
              <a:gd name="connsiteY0" fmla="*/ 3175 h 3963175"/>
              <a:gd name="connsiteX1" fmla="*/ 3264200 w 3579143"/>
              <a:gd name="connsiteY1" fmla="*/ 0 h 3963175"/>
              <a:gd name="connsiteX2" fmla="*/ 3323644 w 3579143"/>
              <a:gd name="connsiteY2" fmla="*/ 166544 h 3963175"/>
              <a:gd name="connsiteX3" fmla="*/ 3578825 w 3579143"/>
              <a:gd name="connsiteY3" fmla="*/ 1640275 h 3963175"/>
              <a:gd name="connsiteX4" fmla="*/ 3002082 w 3579143"/>
              <a:gd name="connsiteY4" fmla="*/ 3809471 h 3963175"/>
              <a:gd name="connsiteX5" fmla="*/ 2905425 w 3579143"/>
              <a:gd name="connsiteY5" fmla="*/ 3963175 h 3963175"/>
              <a:gd name="connsiteX6" fmla="*/ 0 w 3579143"/>
              <a:gd name="connsiteY6" fmla="*/ 3963175 h 3963175"/>
              <a:gd name="connsiteX7" fmla="*/ 0 w 3579143"/>
              <a:gd name="connsiteY7" fmla="*/ 3175 h 3963175"/>
              <a:gd name="connsiteX0" fmla="*/ 0 w 3579143"/>
              <a:gd name="connsiteY0" fmla="*/ 3175 h 3963175"/>
              <a:gd name="connsiteX1" fmla="*/ 3264200 w 3579143"/>
              <a:gd name="connsiteY1" fmla="*/ 0 h 3963175"/>
              <a:gd name="connsiteX2" fmla="*/ 3323644 w 3579143"/>
              <a:gd name="connsiteY2" fmla="*/ 166544 h 3963175"/>
              <a:gd name="connsiteX3" fmla="*/ 3578825 w 3579143"/>
              <a:gd name="connsiteY3" fmla="*/ 1640275 h 3963175"/>
              <a:gd name="connsiteX4" fmla="*/ 3002082 w 3579143"/>
              <a:gd name="connsiteY4" fmla="*/ 3809471 h 3963175"/>
              <a:gd name="connsiteX5" fmla="*/ 2905425 w 3579143"/>
              <a:gd name="connsiteY5" fmla="*/ 3963175 h 3963175"/>
              <a:gd name="connsiteX6" fmla="*/ 0 w 3579143"/>
              <a:gd name="connsiteY6" fmla="*/ 3963175 h 3963175"/>
              <a:gd name="connsiteX7" fmla="*/ 0 w 3579143"/>
              <a:gd name="connsiteY7" fmla="*/ 3175 h 3963175"/>
              <a:gd name="connsiteX0" fmla="*/ 0 w 3579143"/>
              <a:gd name="connsiteY0" fmla="*/ 3175 h 3963175"/>
              <a:gd name="connsiteX1" fmla="*/ 3264200 w 3579143"/>
              <a:gd name="connsiteY1" fmla="*/ 0 h 3963175"/>
              <a:gd name="connsiteX2" fmla="*/ 3323644 w 3579143"/>
              <a:gd name="connsiteY2" fmla="*/ 166544 h 3963175"/>
              <a:gd name="connsiteX3" fmla="*/ 3578825 w 3579143"/>
              <a:gd name="connsiteY3" fmla="*/ 1640275 h 3963175"/>
              <a:gd name="connsiteX4" fmla="*/ 3002082 w 3579143"/>
              <a:gd name="connsiteY4" fmla="*/ 3809471 h 3963175"/>
              <a:gd name="connsiteX5" fmla="*/ 2905425 w 3579143"/>
              <a:gd name="connsiteY5" fmla="*/ 3963175 h 3963175"/>
              <a:gd name="connsiteX6" fmla="*/ 0 w 3579143"/>
              <a:gd name="connsiteY6" fmla="*/ 3963175 h 3963175"/>
              <a:gd name="connsiteX7" fmla="*/ 0 w 3579143"/>
              <a:gd name="connsiteY7" fmla="*/ 3175 h 39631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579143" h="3963175">
                <a:moveTo>
                  <a:pt x="0" y="3175"/>
                </a:moveTo>
                <a:lnTo>
                  <a:pt x="3264200" y="0"/>
                </a:lnTo>
                <a:cubicBezTo>
                  <a:pt x="3287387" y="61624"/>
                  <a:pt x="3301369" y="106419"/>
                  <a:pt x="3323644" y="166544"/>
                </a:cubicBezTo>
                <a:cubicBezTo>
                  <a:pt x="3491969" y="623544"/>
                  <a:pt x="3568919" y="877546"/>
                  <a:pt x="3578825" y="1640275"/>
                </a:cubicBezTo>
                <a:cubicBezTo>
                  <a:pt x="3588731" y="2403004"/>
                  <a:pt x="3367257" y="3165146"/>
                  <a:pt x="3002082" y="3809471"/>
                </a:cubicBezTo>
                <a:cubicBezTo>
                  <a:pt x="2973457" y="3863246"/>
                  <a:pt x="3011014" y="3800503"/>
                  <a:pt x="2905425" y="3963175"/>
                </a:cubicBezTo>
                <a:lnTo>
                  <a:pt x="0" y="3963175"/>
                </a:lnTo>
                <a:lnTo>
                  <a:pt x="0" y="3175"/>
                </a:lnTo>
                <a:close/>
              </a:path>
            </a:pathLst>
          </a:custGeom>
          <a:noFill/>
          <a:ln>
            <a:noFill/>
          </a:ln>
        </p:spPr>
        <p:txBody>
          <a:bodyPr lIns="720000" tIns="720000" rIns="720000" bIns="720000">
            <a:normAutofit/>
          </a:bodyPr>
          <a:lstStyle>
            <a:lvl1pPr marL="0" indent="0" algn="ctr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  <p:sp>
        <p:nvSpPr>
          <p:cNvPr id="12" name="Titel 7"/>
          <p:cNvSpPr>
            <a:spLocks noGrp="1"/>
          </p:cNvSpPr>
          <p:nvPr>
            <p:ph type="title" hasCustomPrompt="1"/>
          </p:nvPr>
        </p:nvSpPr>
        <p:spPr>
          <a:xfrm>
            <a:off x="490100" y="387429"/>
            <a:ext cx="11211800" cy="369332"/>
          </a:xfrm>
        </p:spPr>
        <p:txBody>
          <a:bodyPr/>
          <a:lstStyle/>
          <a:p>
            <a:r>
              <a:rPr lang="en-GB" noProof="0" dirty="0"/>
              <a:t>Click to add headline</a:t>
            </a:r>
          </a:p>
        </p:txBody>
      </p:sp>
      <p:sp>
        <p:nvSpPr>
          <p:cNvPr id="14" name="Inhaltsplatzhalter 11"/>
          <p:cNvSpPr>
            <a:spLocks noGrp="1"/>
          </p:cNvSpPr>
          <p:nvPr>
            <p:ph sz="quarter" idx="14" hasCustomPrompt="1"/>
          </p:nvPr>
        </p:nvSpPr>
        <p:spPr>
          <a:xfrm>
            <a:off x="5131199" y="1598400"/>
            <a:ext cx="6570701" cy="4526400"/>
          </a:xfrm>
        </p:spPr>
        <p:txBody>
          <a:bodyPr/>
          <a:lstStyle>
            <a:lvl1pPr>
              <a:defRPr baseline="0"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 noProof="0"/>
              <a:t>Click to add text</a:t>
            </a:r>
          </a:p>
        </p:txBody>
      </p:sp>
      <p:pic>
        <p:nvPicPr>
          <p:cNvPr id="13" name="Grafik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5924" y="6485509"/>
            <a:ext cx="840360" cy="2540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09642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ircle segment_0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 userDrawn="1"/>
        </p:nvSpPr>
        <p:spPr>
          <a:xfrm>
            <a:off x="0" y="2928494"/>
            <a:ext cx="12192000" cy="3929507"/>
          </a:xfrm>
          <a:prstGeom prst="rect">
            <a:avLst/>
          </a:prstGeom>
          <a:gradFill>
            <a:gsLst>
              <a:gs pos="0">
                <a:srgbClr val="6699CC">
                  <a:alpha val="40000"/>
                </a:srgbClr>
              </a:gs>
              <a:gs pos="100000">
                <a:srgbClr val="FFFFFF"/>
              </a:gs>
            </a:gsLst>
            <a:lin ang="162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sz="1400" noProof="0" dirty="0">
              <a:solidFill>
                <a:schemeClr val="tx1"/>
              </a:solidFill>
              <a:latin typeface="BISansOpti"/>
            </a:endParaRPr>
          </a:p>
        </p:txBody>
      </p:sp>
      <p:cxnSp>
        <p:nvCxnSpPr>
          <p:cNvPr id="5" name="Gerade Verbindung 4"/>
          <p:cNvCxnSpPr/>
          <p:nvPr userDrawn="1"/>
        </p:nvCxnSpPr>
        <p:spPr>
          <a:xfrm>
            <a:off x="0" y="971453"/>
            <a:ext cx="12192000" cy="0"/>
          </a:xfrm>
          <a:prstGeom prst="line">
            <a:avLst/>
          </a:prstGeom>
          <a:ln w="12700">
            <a:solidFill>
              <a:srgbClr val="0033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648406-A3AA-48AB-A053-E88D224E6D63}" type="datetime1">
              <a:rPr lang="en-GB" smtClean="0"/>
              <a:t>14/12/2021</a:t>
            </a:fld>
            <a:endParaRPr lang="en-GB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CMD T.C.M. / MCM</a:t>
            </a:r>
            <a:endParaRPr lang="en-GB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3B55C4-4F5A-416B-997D-6CE47EB0A94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" name="Rechteck 12"/>
          <p:cNvSpPr/>
          <p:nvPr userDrawn="1"/>
        </p:nvSpPr>
        <p:spPr>
          <a:xfrm>
            <a:off x="5" y="980018"/>
            <a:ext cx="4897308" cy="5281083"/>
          </a:xfrm>
          <a:custGeom>
            <a:avLst/>
            <a:gdLst/>
            <a:ahLst/>
            <a:cxnLst/>
            <a:rect l="l" t="t" r="r" b="b"/>
            <a:pathLst>
              <a:path w="3672981" h="3960812">
                <a:moveTo>
                  <a:pt x="0" y="0"/>
                </a:moveTo>
                <a:lnTo>
                  <a:pt x="3361658" y="0"/>
                </a:lnTo>
                <a:lnTo>
                  <a:pt x="3412473" y="127738"/>
                </a:lnTo>
                <a:cubicBezTo>
                  <a:pt x="3581102" y="597230"/>
                  <a:pt x="3672981" y="1103310"/>
                  <a:pt x="3672981" y="1630850"/>
                </a:cubicBezTo>
                <a:cubicBezTo>
                  <a:pt x="3672981" y="2378998"/>
                  <a:pt x="3488190" y="3083985"/>
                  <a:pt x="3161761" y="3702659"/>
                </a:cubicBezTo>
                <a:lnTo>
                  <a:pt x="3012298" y="3960812"/>
                </a:lnTo>
                <a:lnTo>
                  <a:pt x="0" y="3960812"/>
                </a:lnTo>
                <a:close/>
              </a:path>
            </a:pathLst>
          </a:custGeom>
          <a:solidFill>
            <a:schemeClr val="accent5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sz="1400" dirty="0" err="1">
              <a:solidFill>
                <a:schemeClr val="tx1"/>
              </a:solidFill>
              <a:latin typeface="BISansOpti"/>
            </a:endParaRPr>
          </a:p>
        </p:txBody>
      </p:sp>
      <p:sp>
        <p:nvSpPr>
          <p:cNvPr id="11" name="Bildplatzhalter 20"/>
          <p:cNvSpPr>
            <a:spLocks noGrp="1"/>
          </p:cNvSpPr>
          <p:nvPr>
            <p:ph type="pic" sz="quarter" idx="13"/>
          </p:nvPr>
        </p:nvSpPr>
        <p:spPr>
          <a:xfrm>
            <a:off x="-1" y="974967"/>
            <a:ext cx="4772191" cy="5284233"/>
          </a:xfrm>
          <a:custGeom>
            <a:avLst/>
            <a:gdLst>
              <a:gd name="connsiteX0" fmla="*/ 0 w 3582000"/>
              <a:gd name="connsiteY0" fmla="*/ 0 h 3960000"/>
              <a:gd name="connsiteX1" fmla="*/ 1791000 w 3582000"/>
              <a:gd name="connsiteY1" fmla="*/ 0 h 3960000"/>
              <a:gd name="connsiteX2" fmla="*/ 3582000 w 3582000"/>
              <a:gd name="connsiteY2" fmla="*/ 1980000 h 3960000"/>
              <a:gd name="connsiteX3" fmla="*/ 1791000 w 3582000"/>
              <a:gd name="connsiteY3" fmla="*/ 3960000 h 3960000"/>
              <a:gd name="connsiteX4" fmla="*/ 0 w 3582000"/>
              <a:gd name="connsiteY4" fmla="*/ 3960000 h 3960000"/>
              <a:gd name="connsiteX5" fmla="*/ 0 w 3582000"/>
              <a:gd name="connsiteY5" fmla="*/ 0 h 3960000"/>
              <a:gd name="connsiteX0" fmla="*/ 0 w 3669107"/>
              <a:gd name="connsiteY0" fmla="*/ 0 h 3960000"/>
              <a:gd name="connsiteX1" fmla="*/ 1791000 w 3669107"/>
              <a:gd name="connsiteY1" fmla="*/ 0 h 3960000"/>
              <a:gd name="connsiteX2" fmla="*/ 3225219 w 3669107"/>
              <a:gd name="connsiteY2" fmla="*/ 807894 h 3960000"/>
              <a:gd name="connsiteX3" fmla="*/ 3582000 w 3669107"/>
              <a:gd name="connsiteY3" fmla="*/ 1980000 h 3960000"/>
              <a:gd name="connsiteX4" fmla="*/ 1791000 w 3669107"/>
              <a:gd name="connsiteY4" fmla="*/ 3960000 h 3960000"/>
              <a:gd name="connsiteX5" fmla="*/ 0 w 3669107"/>
              <a:gd name="connsiteY5" fmla="*/ 3960000 h 3960000"/>
              <a:gd name="connsiteX6" fmla="*/ 0 w 3669107"/>
              <a:gd name="connsiteY6" fmla="*/ 0 h 3960000"/>
              <a:gd name="connsiteX0" fmla="*/ 0 w 3597300"/>
              <a:gd name="connsiteY0" fmla="*/ 0 h 3960000"/>
              <a:gd name="connsiteX1" fmla="*/ 1791000 w 3597300"/>
              <a:gd name="connsiteY1" fmla="*/ 0 h 3960000"/>
              <a:gd name="connsiteX2" fmla="*/ 3225219 w 3597300"/>
              <a:gd name="connsiteY2" fmla="*/ 807894 h 3960000"/>
              <a:gd name="connsiteX3" fmla="*/ 3582000 w 3597300"/>
              <a:gd name="connsiteY3" fmla="*/ 1980000 h 3960000"/>
              <a:gd name="connsiteX4" fmla="*/ 2862382 w 3597300"/>
              <a:gd name="connsiteY4" fmla="*/ 3307821 h 3960000"/>
              <a:gd name="connsiteX5" fmla="*/ 1791000 w 3597300"/>
              <a:gd name="connsiteY5" fmla="*/ 3960000 h 3960000"/>
              <a:gd name="connsiteX6" fmla="*/ 0 w 3597300"/>
              <a:gd name="connsiteY6" fmla="*/ 3960000 h 3960000"/>
              <a:gd name="connsiteX7" fmla="*/ 0 w 3597300"/>
              <a:gd name="connsiteY7" fmla="*/ 0 h 3960000"/>
              <a:gd name="connsiteX0" fmla="*/ 0 w 3597300"/>
              <a:gd name="connsiteY0" fmla="*/ 0 h 3960000"/>
              <a:gd name="connsiteX1" fmla="*/ 3261025 w 3597300"/>
              <a:gd name="connsiteY1" fmla="*/ 3175 h 3960000"/>
              <a:gd name="connsiteX2" fmla="*/ 3225219 w 3597300"/>
              <a:gd name="connsiteY2" fmla="*/ 807894 h 3960000"/>
              <a:gd name="connsiteX3" fmla="*/ 3582000 w 3597300"/>
              <a:gd name="connsiteY3" fmla="*/ 1980000 h 3960000"/>
              <a:gd name="connsiteX4" fmla="*/ 2862382 w 3597300"/>
              <a:gd name="connsiteY4" fmla="*/ 3307821 h 3960000"/>
              <a:gd name="connsiteX5" fmla="*/ 1791000 w 3597300"/>
              <a:gd name="connsiteY5" fmla="*/ 3960000 h 3960000"/>
              <a:gd name="connsiteX6" fmla="*/ 0 w 3597300"/>
              <a:gd name="connsiteY6" fmla="*/ 3960000 h 3960000"/>
              <a:gd name="connsiteX7" fmla="*/ 0 w 3597300"/>
              <a:gd name="connsiteY7" fmla="*/ 0 h 3960000"/>
              <a:gd name="connsiteX0" fmla="*/ 0 w 3597300"/>
              <a:gd name="connsiteY0" fmla="*/ 0 h 3960000"/>
              <a:gd name="connsiteX1" fmla="*/ 3019725 w 3597300"/>
              <a:gd name="connsiteY1" fmla="*/ 282575 h 3960000"/>
              <a:gd name="connsiteX2" fmla="*/ 3225219 w 3597300"/>
              <a:gd name="connsiteY2" fmla="*/ 807894 h 3960000"/>
              <a:gd name="connsiteX3" fmla="*/ 3582000 w 3597300"/>
              <a:gd name="connsiteY3" fmla="*/ 1980000 h 3960000"/>
              <a:gd name="connsiteX4" fmla="*/ 2862382 w 3597300"/>
              <a:gd name="connsiteY4" fmla="*/ 3307821 h 3960000"/>
              <a:gd name="connsiteX5" fmla="*/ 1791000 w 3597300"/>
              <a:gd name="connsiteY5" fmla="*/ 3960000 h 3960000"/>
              <a:gd name="connsiteX6" fmla="*/ 0 w 3597300"/>
              <a:gd name="connsiteY6" fmla="*/ 3960000 h 3960000"/>
              <a:gd name="connsiteX7" fmla="*/ 0 w 3597300"/>
              <a:gd name="connsiteY7" fmla="*/ 0 h 3960000"/>
              <a:gd name="connsiteX0" fmla="*/ 0 w 3597300"/>
              <a:gd name="connsiteY0" fmla="*/ 3175 h 3963175"/>
              <a:gd name="connsiteX1" fmla="*/ 3264200 w 3597300"/>
              <a:gd name="connsiteY1" fmla="*/ 0 h 3963175"/>
              <a:gd name="connsiteX2" fmla="*/ 3225219 w 3597300"/>
              <a:gd name="connsiteY2" fmla="*/ 811069 h 3963175"/>
              <a:gd name="connsiteX3" fmla="*/ 3582000 w 3597300"/>
              <a:gd name="connsiteY3" fmla="*/ 1983175 h 3963175"/>
              <a:gd name="connsiteX4" fmla="*/ 2862382 w 3597300"/>
              <a:gd name="connsiteY4" fmla="*/ 3310996 h 3963175"/>
              <a:gd name="connsiteX5" fmla="*/ 1791000 w 3597300"/>
              <a:gd name="connsiteY5" fmla="*/ 3963175 h 3963175"/>
              <a:gd name="connsiteX6" fmla="*/ 0 w 3597300"/>
              <a:gd name="connsiteY6" fmla="*/ 3963175 h 3963175"/>
              <a:gd name="connsiteX7" fmla="*/ 0 w 3597300"/>
              <a:gd name="connsiteY7" fmla="*/ 3175 h 3963175"/>
              <a:gd name="connsiteX0" fmla="*/ 0 w 3597300"/>
              <a:gd name="connsiteY0" fmla="*/ 3175 h 3963175"/>
              <a:gd name="connsiteX1" fmla="*/ 3264200 w 3597300"/>
              <a:gd name="connsiteY1" fmla="*/ 0 h 3963175"/>
              <a:gd name="connsiteX2" fmla="*/ 3225219 w 3597300"/>
              <a:gd name="connsiteY2" fmla="*/ 811069 h 3963175"/>
              <a:gd name="connsiteX3" fmla="*/ 3582000 w 3597300"/>
              <a:gd name="connsiteY3" fmla="*/ 1983175 h 3963175"/>
              <a:gd name="connsiteX4" fmla="*/ 2862382 w 3597300"/>
              <a:gd name="connsiteY4" fmla="*/ 3310996 h 3963175"/>
              <a:gd name="connsiteX5" fmla="*/ 1791000 w 3597300"/>
              <a:gd name="connsiteY5" fmla="*/ 3963175 h 3963175"/>
              <a:gd name="connsiteX6" fmla="*/ 0 w 3597300"/>
              <a:gd name="connsiteY6" fmla="*/ 3963175 h 3963175"/>
              <a:gd name="connsiteX7" fmla="*/ 0 w 3597300"/>
              <a:gd name="connsiteY7" fmla="*/ 3175 h 3963175"/>
              <a:gd name="connsiteX0" fmla="*/ 0 w 3616616"/>
              <a:gd name="connsiteY0" fmla="*/ 21630 h 3981630"/>
              <a:gd name="connsiteX1" fmla="*/ 3264200 w 3616616"/>
              <a:gd name="connsiteY1" fmla="*/ 18455 h 3981630"/>
              <a:gd name="connsiteX2" fmla="*/ 3323644 w 3616616"/>
              <a:gd name="connsiteY2" fmla="*/ 184999 h 3981630"/>
              <a:gd name="connsiteX3" fmla="*/ 3582000 w 3616616"/>
              <a:gd name="connsiteY3" fmla="*/ 2001630 h 3981630"/>
              <a:gd name="connsiteX4" fmla="*/ 2862382 w 3616616"/>
              <a:gd name="connsiteY4" fmla="*/ 3329451 h 3981630"/>
              <a:gd name="connsiteX5" fmla="*/ 1791000 w 3616616"/>
              <a:gd name="connsiteY5" fmla="*/ 3981630 h 3981630"/>
              <a:gd name="connsiteX6" fmla="*/ 0 w 3616616"/>
              <a:gd name="connsiteY6" fmla="*/ 3981630 h 3981630"/>
              <a:gd name="connsiteX7" fmla="*/ 0 w 3616616"/>
              <a:gd name="connsiteY7" fmla="*/ 21630 h 3981630"/>
              <a:gd name="connsiteX0" fmla="*/ 0 w 3616616"/>
              <a:gd name="connsiteY0" fmla="*/ 3175 h 3963175"/>
              <a:gd name="connsiteX1" fmla="*/ 3264200 w 3616616"/>
              <a:gd name="connsiteY1" fmla="*/ 0 h 3963175"/>
              <a:gd name="connsiteX2" fmla="*/ 3323644 w 3616616"/>
              <a:gd name="connsiteY2" fmla="*/ 166544 h 3963175"/>
              <a:gd name="connsiteX3" fmla="*/ 3582000 w 3616616"/>
              <a:gd name="connsiteY3" fmla="*/ 1983175 h 3963175"/>
              <a:gd name="connsiteX4" fmla="*/ 2862382 w 3616616"/>
              <a:gd name="connsiteY4" fmla="*/ 3310996 h 3963175"/>
              <a:gd name="connsiteX5" fmla="*/ 1791000 w 3616616"/>
              <a:gd name="connsiteY5" fmla="*/ 3963175 h 3963175"/>
              <a:gd name="connsiteX6" fmla="*/ 0 w 3616616"/>
              <a:gd name="connsiteY6" fmla="*/ 3963175 h 3963175"/>
              <a:gd name="connsiteX7" fmla="*/ 0 w 3616616"/>
              <a:gd name="connsiteY7" fmla="*/ 3175 h 3963175"/>
              <a:gd name="connsiteX0" fmla="*/ 0 w 3601265"/>
              <a:gd name="connsiteY0" fmla="*/ 3175 h 3963175"/>
              <a:gd name="connsiteX1" fmla="*/ 3264200 w 3601265"/>
              <a:gd name="connsiteY1" fmla="*/ 0 h 3963175"/>
              <a:gd name="connsiteX2" fmla="*/ 3323644 w 3601265"/>
              <a:gd name="connsiteY2" fmla="*/ 166544 h 3963175"/>
              <a:gd name="connsiteX3" fmla="*/ 3582000 w 3601265"/>
              <a:gd name="connsiteY3" fmla="*/ 1983175 h 3963175"/>
              <a:gd name="connsiteX4" fmla="*/ 2862382 w 3601265"/>
              <a:gd name="connsiteY4" fmla="*/ 3310996 h 3963175"/>
              <a:gd name="connsiteX5" fmla="*/ 1791000 w 3601265"/>
              <a:gd name="connsiteY5" fmla="*/ 3963175 h 3963175"/>
              <a:gd name="connsiteX6" fmla="*/ 0 w 3601265"/>
              <a:gd name="connsiteY6" fmla="*/ 3963175 h 3963175"/>
              <a:gd name="connsiteX7" fmla="*/ 0 w 3601265"/>
              <a:gd name="connsiteY7" fmla="*/ 3175 h 3963175"/>
              <a:gd name="connsiteX0" fmla="*/ 0 w 3364734"/>
              <a:gd name="connsiteY0" fmla="*/ 3175 h 3963175"/>
              <a:gd name="connsiteX1" fmla="*/ 3264200 w 3364734"/>
              <a:gd name="connsiteY1" fmla="*/ 0 h 3963175"/>
              <a:gd name="connsiteX2" fmla="*/ 3323644 w 3364734"/>
              <a:gd name="connsiteY2" fmla="*/ 166544 h 3963175"/>
              <a:gd name="connsiteX3" fmla="*/ 3016850 w 3364734"/>
              <a:gd name="connsiteY3" fmla="*/ 1614875 h 3963175"/>
              <a:gd name="connsiteX4" fmla="*/ 2862382 w 3364734"/>
              <a:gd name="connsiteY4" fmla="*/ 3310996 h 3963175"/>
              <a:gd name="connsiteX5" fmla="*/ 1791000 w 3364734"/>
              <a:gd name="connsiteY5" fmla="*/ 3963175 h 3963175"/>
              <a:gd name="connsiteX6" fmla="*/ 0 w 3364734"/>
              <a:gd name="connsiteY6" fmla="*/ 3963175 h 3963175"/>
              <a:gd name="connsiteX7" fmla="*/ 0 w 3364734"/>
              <a:gd name="connsiteY7" fmla="*/ 3175 h 3963175"/>
              <a:gd name="connsiteX0" fmla="*/ 0 w 3598344"/>
              <a:gd name="connsiteY0" fmla="*/ 3175 h 3963175"/>
              <a:gd name="connsiteX1" fmla="*/ 3264200 w 3598344"/>
              <a:gd name="connsiteY1" fmla="*/ 0 h 3963175"/>
              <a:gd name="connsiteX2" fmla="*/ 3323644 w 3598344"/>
              <a:gd name="connsiteY2" fmla="*/ 166544 h 3963175"/>
              <a:gd name="connsiteX3" fmla="*/ 3578825 w 3598344"/>
              <a:gd name="connsiteY3" fmla="*/ 1640275 h 3963175"/>
              <a:gd name="connsiteX4" fmla="*/ 2862382 w 3598344"/>
              <a:gd name="connsiteY4" fmla="*/ 3310996 h 3963175"/>
              <a:gd name="connsiteX5" fmla="*/ 1791000 w 3598344"/>
              <a:gd name="connsiteY5" fmla="*/ 3963175 h 3963175"/>
              <a:gd name="connsiteX6" fmla="*/ 0 w 3598344"/>
              <a:gd name="connsiteY6" fmla="*/ 3963175 h 3963175"/>
              <a:gd name="connsiteX7" fmla="*/ 0 w 3598344"/>
              <a:gd name="connsiteY7" fmla="*/ 3175 h 3963175"/>
              <a:gd name="connsiteX0" fmla="*/ 0 w 3612056"/>
              <a:gd name="connsiteY0" fmla="*/ 3175 h 3963175"/>
              <a:gd name="connsiteX1" fmla="*/ 3264200 w 3612056"/>
              <a:gd name="connsiteY1" fmla="*/ 0 h 3963175"/>
              <a:gd name="connsiteX2" fmla="*/ 3323644 w 3612056"/>
              <a:gd name="connsiteY2" fmla="*/ 166544 h 3963175"/>
              <a:gd name="connsiteX3" fmla="*/ 3578825 w 3612056"/>
              <a:gd name="connsiteY3" fmla="*/ 1640275 h 3963175"/>
              <a:gd name="connsiteX4" fmla="*/ 2862382 w 3612056"/>
              <a:gd name="connsiteY4" fmla="*/ 3310996 h 3963175"/>
              <a:gd name="connsiteX5" fmla="*/ 1791000 w 3612056"/>
              <a:gd name="connsiteY5" fmla="*/ 3963175 h 3963175"/>
              <a:gd name="connsiteX6" fmla="*/ 0 w 3612056"/>
              <a:gd name="connsiteY6" fmla="*/ 3963175 h 3963175"/>
              <a:gd name="connsiteX7" fmla="*/ 0 w 3612056"/>
              <a:gd name="connsiteY7" fmla="*/ 3175 h 3963175"/>
              <a:gd name="connsiteX0" fmla="*/ 0 w 3635528"/>
              <a:gd name="connsiteY0" fmla="*/ 3175 h 3963175"/>
              <a:gd name="connsiteX1" fmla="*/ 3264200 w 3635528"/>
              <a:gd name="connsiteY1" fmla="*/ 0 h 3963175"/>
              <a:gd name="connsiteX2" fmla="*/ 3323644 w 3635528"/>
              <a:gd name="connsiteY2" fmla="*/ 166544 h 3963175"/>
              <a:gd name="connsiteX3" fmla="*/ 3578825 w 3635528"/>
              <a:gd name="connsiteY3" fmla="*/ 1640275 h 3963175"/>
              <a:gd name="connsiteX4" fmla="*/ 2862382 w 3635528"/>
              <a:gd name="connsiteY4" fmla="*/ 3310996 h 3963175"/>
              <a:gd name="connsiteX5" fmla="*/ 1791000 w 3635528"/>
              <a:gd name="connsiteY5" fmla="*/ 3963175 h 3963175"/>
              <a:gd name="connsiteX6" fmla="*/ 0 w 3635528"/>
              <a:gd name="connsiteY6" fmla="*/ 3963175 h 3963175"/>
              <a:gd name="connsiteX7" fmla="*/ 0 w 3635528"/>
              <a:gd name="connsiteY7" fmla="*/ 3175 h 3963175"/>
              <a:gd name="connsiteX0" fmla="*/ 0 w 3578828"/>
              <a:gd name="connsiteY0" fmla="*/ 3175 h 3963175"/>
              <a:gd name="connsiteX1" fmla="*/ 3264200 w 3578828"/>
              <a:gd name="connsiteY1" fmla="*/ 0 h 3963175"/>
              <a:gd name="connsiteX2" fmla="*/ 3323644 w 3578828"/>
              <a:gd name="connsiteY2" fmla="*/ 166544 h 3963175"/>
              <a:gd name="connsiteX3" fmla="*/ 3578825 w 3578828"/>
              <a:gd name="connsiteY3" fmla="*/ 1640275 h 3963175"/>
              <a:gd name="connsiteX4" fmla="*/ 2862382 w 3578828"/>
              <a:gd name="connsiteY4" fmla="*/ 3310996 h 3963175"/>
              <a:gd name="connsiteX5" fmla="*/ 1791000 w 3578828"/>
              <a:gd name="connsiteY5" fmla="*/ 3963175 h 3963175"/>
              <a:gd name="connsiteX6" fmla="*/ 0 w 3578828"/>
              <a:gd name="connsiteY6" fmla="*/ 3963175 h 3963175"/>
              <a:gd name="connsiteX7" fmla="*/ 0 w 3578828"/>
              <a:gd name="connsiteY7" fmla="*/ 3175 h 3963175"/>
              <a:gd name="connsiteX0" fmla="*/ 0 w 3578942"/>
              <a:gd name="connsiteY0" fmla="*/ 3175 h 3963175"/>
              <a:gd name="connsiteX1" fmla="*/ 3264200 w 3578942"/>
              <a:gd name="connsiteY1" fmla="*/ 0 h 3963175"/>
              <a:gd name="connsiteX2" fmla="*/ 3323644 w 3578942"/>
              <a:gd name="connsiteY2" fmla="*/ 166544 h 3963175"/>
              <a:gd name="connsiteX3" fmla="*/ 3578825 w 3578942"/>
              <a:gd name="connsiteY3" fmla="*/ 1640275 h 3963175"/>
              <a:gd name="connsiteX4" fmla="*/ 2862382 w 3578942"/>
              <a:gd name="connsiteY4" fmla="*/ 3310996 h 3963175"/>
              <a:gd name="connsiteX5" fmla="*/ 1791000 w 3578942"/>
              <a:gd name="connsiteY5" fmla="*/ 3963175 h 3963175"/>
              <a:gd name="connsiteX6" fmla="*/ 0 w 3578942"/>
              <a:gd name="connsiteY6" fmla="*/ 3963175 h 3963175"/>
              <a:gd name="connsiteX7" fmla="*/ 0 w 3578942"/>
              <a:gd name="connsiteY7" fmla="*/ 3175 h 3963175"/>
              <a:gd name="connsiteX0" fmla="*/ 0 w 3578942"/>
              <a:gd name="connsiteY0" fmla="*/ 3175 h 3963175"/>
              <a:gd name="connsiteX1" fmla="*/ 3264200 w 3578942"/>
              <a:gd name="connsiteY1" fmla="*/ 0 h 3963175"/>
              <a:gd name="connsiteX2" fmla="*/ 3323644 w 3578942"/>
              <a:gd name="connsiteY2" fmla="*/ 166544 h 3963175"/>
              <a:gd name="connsiteX3" fmla="*/ 3578825 w 3578942"/>
              <a:gd name="connsiteY3" fmla="*/ 1640275 h 3963175"/>
              <a:gd name="connsiteX4" fmla="*/ 2862382 w 3578942"/>
              <a:gd name="connsiteY4" fmla="*/ 3310996 h 3963175"/>
              <a:gd name="connsiteX5" fmla="*/ 1791000 w 3578942"/>
              <a:gd name="connsiteY5" fmla="*/ 3963175 h 3963175"/>
              <a:gd name="connsiteX6" fmla="*/ 0 w 3578942"/>
              <a:gd name="connsiteY6" fmla="*/ 3963175 h 3963175"/>
              <a:gd name="connsiteX7" fmla="*/ 0 w 3578942"/>
              <a:gd name="connsiteY7" fmla="*/ 3175 h 3963175"/>
              <a:gd name="connsiteX0" fmla="*/ 0 w 3590408"/>
              <a:gd name="connsiteY0" fmla="*/ 3175 h 3974831"/>
              <a:gd name="connsiteX1" fmla="*/ 3264200 w 3590408"/>
              <a:gd name="connsiteY1" fmla="*/ 0 h 3974831"/>
              <a:gd name="connsiteX2" fmla="*/ 3323644 w 3590408"/>
              <a:gd name="connsiteY2" fmla="*/ 166544 h 3974831"/>
              <a:gd name="connsiteX3" fmla="*/ 3578825 w 3590408"/>
              <a:gd name="connsiteY3" fmla="*/ 1640275 h 3974831"/>
              <a:gd name="connsiteX4" fmla="*/ 3002082 w 3590408"/>
              <a:gd name="connsiteY4" fmla="*/ 3809471 h 3974831"/>
              <a:gd name="connsiteX5" fmla="*/ 1791000 w 3590408"/>
              <a:gd name="connsiteY5" fmla="*/ 3963175 h 3974831"/>
              <a:gd name="connsiteX6" fmla="*/ 0 w 3590408"/>
              <a:gd name="connsiteY6" fmla="*/ 3963175 h 3974831"/>
              <a:gd name="connsiteX7" fmla="*/ 0 w 3590408"/>
              <a:gd name="connsiteY7" fmla="*/ 3175 h 3974831"/>
              <a:gd name="connsiteX0" fmla="*/ 0 w 3590408"/>
              <a:gd name="connsiteY0" fmla="*/ 3175 h 3974831"/>
              <a:gd name="connsiteX1" fmla="*/ 3264200 w 3590408"/>
              <a:gd name="connsiteY1" fmla="*/ 0 h 3974831"/>
              <a:gd name="connsiteX2" fmla="*/ 3323644 w 3590408"/>
              <a:gd name="connsiteY2" fmla="*/ 166544 h 3974831"/>
              <a:gd name="connsiteX3" fmla="*/ 3578825 w 3590408"/>
              <a:gd name="connsiteY3" fmla="*/ 1640275 h 3974831"/>
              <a:gd name="connsiteX4" fmla="*/ 3002082 w 3590408"/>
              <a:gd name="connsiteY4" fmla="*/ 3809471 h 3974831"/>
              <a:gd name="connsiteX5" fmla="*/ 1791000 w 3590408"/>
              <a:gd name="connsiteY5" fmla="*/ 3963175 h 3974831"/>
              <a:gd name="connsiteX6" fmla="*/ 0 w 3590408"/>
              <a:gd name="connsiteY6" fmla="*/ 3963175 h 3974831"/>
              <a:gd name="connsiteX7" fmla="*/ 0 w 3590408"/>
              <a:gd name="connsiteY7" fmla="*/ 3175 h 3974831"/>
              <a:gd name="connsiteX0" fmla="*/ 0 w 3590408"/>
              <a:gd name="connsiteY0" fmla="*/ 3175 h 3975950"/>
              <a:gd name="connsiteX1" fmla="*/ 3264200 w 3590408"/>
              <a:gd name="connsiteY1" fmla="*/ 0 h 3975950"/>
              <a:gd name="connsiteX2" fmla="*/ 3323644 w 3590408"/>
              <a:gd name="connsiteY2" fmla="*/ 166544 h 3975950"/>
              <a:gd name="connsiteX3" fmla="*/ 3578825 w 3590408"/>
              <a:gd name="connsiteY3" fmla="*/ 1640275 h 3975950"/>
              <a:gd name="connsiteX4" fmla="*/ 3002082 w 3590408"/>
              <a:gd name="connsiteY4" fmla="*/ 3809471 h 3975950"/>
              <a:gd name="connsiteX5" fmla="*/ 2908600 w 3590408"/>
              <a:gd name="connsiteY5" fmla="*/ 3966350 h 3975950"/>
              <a:gd name="connsiteX6" fmla="*/ 0 w 3590408"/>
              <a:gd name="connsiteY6" fmla="*/ 3963175 h 3975950"/>
              <a:gd name="connsiteX7" fmla="*/ 0 w 3590408"/>
              <a:gd name="connsiteY7" fmla="*/ 3175 h 3975950"/>
              <a:gd name="connsiteX0" fmla="*/ 0 w 3590408"/>
              <a:gd name="connsiteY0" fmla="*/ 3175 h 3966350"/>
              <a:gd name="connsiteX1" fmla="*/ 3264200 w 3590408"/>
              <a:gd name="connsiteY1" fmla="*/ 0 h 3966350"/>
              <a:gd name="connsiteX2" fmla="*/ 3323644 w 3590408"/>
              <a:gd name="connsiteY2" fmla="*/ 166544 h 3966350"/>
              <a:gd name="connsiteX3" fmla="*/ 3578825 w 3590408"/>
              <a:gd name="connsiteY3" fmla="*/ 1640275 h 3966350"/>
              <a:gd name="connsiteX4" fmla="*/ 3002082 w 3590408"/>
              <a:gd name="connsiteY4" fmla="*/ 3809471 h 3966350"/>
              <a:gd name="connsiteX5" fmla="*/ 2908600 w 3590408"/>
              <a:gd name="connsiteY5" fmla="*/ 3966350 h 3966350"/>
              <a:gd name="connsiteX6" fmla="*/ 0 w 3590408"/>
              <a:gd name="connsiteY6" fmla="*/ 3963175 h 3966350"/>
              <a:gd name="connsiteX7" fmla="*/ 0 w 3590408"/>
              <a:gd name="connsiteY7" fmla="*/ 3175 h 3966350"/>
              <a:gd name="connsiteX0" fmla="*/ 0 w 3590408"/>
              <a:gd name="connsiteY0" fmla="*/ 3175 h 3966350"/>
              <a:gd name="connsiteX1" fmla="*/ 3264200 w 3590408"/>
              <a:gd name="connsiteY1" fmla="*/ 0 h 3966350"/>
              <a:gd name="connsiteX2" fmla="*/ 3323644 w 3590408"/>
              <a:gd name="connsiteY2" fmla="*/ 166544 h 3966350"/>
              <a:gd name="connsiteX3" fmla="*/ 3578825 w 3590408"/>
              <a:gd name="connsiteY3" fmla="*/ 1640275 h 3966350"/>
              <a:gd name="connsiteX4" fmla="*/ 3002082 w 3590408"/>
              <a:gd name="connsiteY4" fmla="*/ 3809471 h 3966350"/>
              <a:gd name="connsiteX5" fmla="*/ 2908600 w 3590408"/>
              <a:gd name="connsiteY5" fmla="*/ 3966350 h 3966350"/>
              <a:gd name="connsiteX6" fmla="*/ 0 w 3590408"/>
              <a:gd name="connsiteY6" fmla="*/ 3963175 h 3966350"/>
              <a:gd name="connsiteX7" fmla="*/ 0 w 3590408"/>
              <a:gd name="connsiteY7" fmla="*/ 3175 h 3966350"/>
              <a:gd name="connsiteX0" fmla="*/ 0 w 3590408"/>
              <a:gd name="connsiteY0" fmla="*/ 3175 h 3966350"/>
              <a:gd name="connsiteX1" fmla="*/ 3264200 w 3590408"/>
              <a:gd name="connsiteY1" fmla="*/ 0 h 3966350"/>
              <a:gd name="connsiteX2" fmla="*/ 3323644 w 3590408"/>
              <a:gd name="connsiteY2" fmla="*/ 166544 h 3966350"/>
              <a:gd name="connsiteX3" fmla="*/ 3578825 w 3590408"/>
              <a:gd name="connsiteY3" fmla="*/ 1640275 h 3966350"/>
              <a:gd name="connsiteX4" fmla="*/ 3002082 w 3590408"/>
              <a:gd name="connsiteY4" fmla="*/ 3809471 h 3966350"/>
              <a:gd name="connsiteX5" fmla="*/ 2908600 w 3590408"/>
              <a:gd name="connsiteY5" fmla="*/ 3966350 h 3966350"/>
              <a:gd name="connsiteX6" fmla="*/ 0 w 3590408"/>
              <a:gd name="connsiteY6" fmla="*/ 3963175 h 3966350"/>
              <a:gd name="connsiteX7" fmla="*/ 0 w 3590408"/>
              <a:gd name="connsiteY7" fmla="*/ 3175 h 3966350"/>
              <a:gd name="connsiteX0" fmla="*/ 0 w 3580367"/>
              <a:gd name="connsiteY0" fmla="*/ 3175 h 3966350"/>
              <a:gd name="connsiteX1" fmla="*/ 3264200 w 3580367"/>
              <a:gd name="connsiteY1" fmla="*/ 0 h 3966350"/>
              <a:gd name="connsiteX2" fmla="*/ 3323644 w 3580367"/>
              <a:gd name="connsiteY2" fmla="*/ 166544 h 3966350"/>
              <a:gd name="connsiteX3" fmla="*/ 3578825 w 3580367"/>
              <a:gd name="connsiteY3" fmla="*/ 1640275 h 3966350"/>
              <a:gd name="connsiteX4" fmla="*/ 3002082 w 3580367"/>
              <a:gd name="connsiteY4" fmla="*/ 3809471 h 3966350"/>
              <a:gd name="connsiteX5" fmla="*/ 2908600 w 3580367"/>
              <a:gd name="connsiteY5" fmla="*/ 3966350 h 3966350"/>
              <a:gd name="connsiteX6" fmla="*/ 0 w 3580367"/>
              <a:gd name="connsiteY6" fmla="*/ 3963175 h 3966350"/>
              <a:gd name="connsiteX7" fmla="*/ 0 w 3580367"/>
              <a:gd name="connsiteY7" fmla="*/ 3175 h 3966350"/>
              <a:gd name="connsiteX0" fmla="*/ 0 w 3578976"/>
              <a:gd name="connsiteY0" fmla="*/ 3175 h 3966350"/>
              <a:gd name="connsiteX1" fmla="*/ 3264200 w 3578976"/>
              <a:gd name="connsiteY1" fmla="*/ 0 h 3966350"/>
              <a:gd name="connsiteX2" fmla="*/ 3323644 w 3578976"/>
              <a:gd name="connsiteY2" fmla="*/ 166544 h 3966350"/>
              <a:gd name="connsiteX3" fmla="*/ 3578825 w 3578976"/>
              <a:gd name="connsiteY3" fmla="*/ 1640275 h 3966350"/>
              <a:gd name="connsiteX4" fmla="*/ 3002082 w 3578976"/>
              <a:gd name="connsiteY4" fmla="*/ 3809471 h 3966350"/>
              <a:gd name="connsiteX5" fmla="*/ 2908600 w 3578976"/>
              <a:gd name="connsiteY5" fmla="*/ 3966350 h 3966350"/>
              <a:gd name="connsiteX6" fmla="*/ 0 w 3578976"/>
              <a:gd name="connsiteY6" fmla="*/ 3963175 h 3966350"/>
              <a:gd name="connsiteX7" fmla="*/ 0 w 3578976"/>
              <a:gd name="connsiteY7" fmla="*/ 3175 h 3966350"/>
              <a:gd name="connsiteX0" fmla="*/ 0 w 3579143"/>
              <a:gd name="connsiteY0" fmla="*/ 3175 h 3966350"/>
              <a:gd name="connsiteX1" fmla="*/ 3264200 w 3579143"/>
              <a:gd name="connsiteY1" fmla="*/ 0 h 3966350"/>
              <a:gd name="connsiteX2" fmla="*/ 3323644 w 3579143"/>
              <a:gd name="connsiteY2" fmla="*/ 166544 h 3966350"/>
              <a:gd name="connsiteX3" fmla="*/ 3578825 w 3579143"/>
              <a:gd name="connsiteY3" fmla="*/ 1640275 h 3966350"/>
              <a:gd name="connsiteX4" fmla="*/ 3002082 w 3579143"/>
              <a:gd name="connsiteY4" fmla="*/ 3809471 h 3966350"/>
              <a:gd name="connsiteX5" fmla="*/ 2908600 w 3579143"/>
              <a:gd name="connsiteY5" fmla="*/ 3966350 h 3966350"/>
              <a:gd name="connsiteX6" fmla="*/ 0 w 3579143"/>
              <a:gd name="connsiteY6" fmla="*/ 3963175 h 3966350"/>
              <a:gd name="connsiteX7" fmla="*/ 0 w 3579143"/>
              <a:gd name="connsiteY7" fmla="*/ 3175 h 3966350"/>
              <a:gd name="connsiteX0" fmla="*/ 0 w 3579143"/>
              <a:gd name="connsiteY0" fmla="*/ 3175 h 4131450"/>
              <a:gd name="connsiteX1" fmla="*/ 3264200 w 3579143"/>
              <a:gd name="connsiteY1" fmla="*/ 0 h 4131450"/>
              <a:gd name="connsiteX2" fmla="*/ 3323644 w 3579143"/>
              <a:gd name="connsiteY2" fmla="*/ 166544 h 4131450"/>
              <a:gd name="connsiteX3" fmla="*/ 3578825 w 3579143"/>
              <a:gd name="connsiteY3" fmla="*/ 1640275 h 4131450"/>
              <a:gd name="connsiteX4" fmla="*/ 3002082 w 3579143"/>
              <a:gd name="connsiteY4" fmla="*/ 3809471 h 4131450"/>
              <a:gd name="connsiteX5" fmla="*/ 3159425 w 3579143"/>
              <a:gd name="connsiteY5" fmla="*/ 4131450 h 4131450"/>
              <a:gd name="connsiteX6" fmla="*/ 0 w 3579143"/>
              <a:gd name="connsiteY6" fmla="*/ 3963175 h 4131450"/>
              <a:gd name="connsiteX7" fmla="*/ 0 w 3579143"/>
              <a:gd name="connsiteY7" fmla="*/ 3175 h 4131450"/>
              <a:gd name="connsiteX0" fmla="*/ 0 w 3579143"/>
              <a:gd name="connsiteY0" fmla="*/ 3175 h 3963175"/>
              <a:gd name="connsiteX1" fmla="*/ 3264200 w 3579143"/>
              <a:gd name="connsiteY1" fmla="*/ 0 h 3963175"/>
              <a:gd name="connsiteX2" fmla="*/ 3323644 w 3579143"/>
              <a:gd name="connsiteY2" fmla="*/ 166544 h 3963175"/>
              <a:gd name="connsiteX3" fmla="*/ 3578825 w 3579143"/>
              <a:gd name="connsiteY3" fmla="*/ 1640275 h 3963175"/>
              <a:gd name="connsiteX4" fmla="*/ 3002082 w 3579143"/>
              <a:gd name="connsiteY4" fmla="*/ 3809471 h 3963175"/>
              <a:gd name="connsiteX5" fmla="*/ 2905425 w 3579143"/>
              <a:gd name="connsiteY5" fmla="*/ 3963175 h 3963175"/>
              <a:gd name="connsiteX6" fmla="*/ 0 w 3579143"/>
              <a:gd name="connsiteY6" fmla="*/ 3963175 h 3963175"/>
              <a:gd name="connsiteX7" fmla="*/ 0 w 3579143"/>
              <a:gd name="connsiteY7" fmla="*/ 3175 h 3963175"/>
              <a:gd name="connsiteX0" fmla="*/ 0 w 3579143"/>
              <a:gd name="connsiteY0" fmla="*/ 3175 h 3963175"/>
              <a:gd name="connsiteX1" fmla="*/ 3264200 w 3579143"/>
              <a:gd name="connsiteY1" fmla="*/ 0 h 3963175"/>
              <a:gd name="connsiteX2" fmla="*/ 3323644 w 3579143"/>
              <a:gd name="connsiteY2" fmla="*/ 166544 h 3963175"/>
              <a:gd name="connsiteX3" fmla="*/ 3578825 w 3579143"/>
              <a:gd name="connsiteY3" fmla="*/ 1640275 h 3963175"/>
              <a:gd name="connsiteX4" fmla="*/ 3002082 w 3579143"/>
              <a:gd name="connsiteY4" fmla="*/ 3809471 h 3963175"/>
              <a:gd name="connsiteX5" fmla="*/ 2905425 w 3579143"/>
              <a:gd name="connsiteY5" fmla="*/ 3963175 h 3963175"/>
              <a:gd name="connsiteX6" fmla="*/ 0 w 3579143"/>
              <a:gd name="connsiteY6" fmla="*/ 3963175 h 3963175"/>
              <a:gd name="connsiteX7" fmla="*/ 0 w 3579143"/>
              <a:gd name="connsiteY7" fmla="*/ 3175 h 3963175"/>
              <a:gd name="connsiteX0" fmla="*/ 0 w 3579143"/>
              <a:gd name="connsiteY0" fmla="*/ 3175 h 3963175"/>
              <a:gd name="connsiteX1" fmla="*/ 3264200 w 3579143"/>
              <a:gd name="connsiteY1" fmla="*/ 0 h 3963175"/>
              <a:gd name="connsiteX2" fmla="*/ 3323644 w 3579143"/>
              <a:gd name="connsiteY2" fmla="*/ 166544 h 3963175"/>
              <a:gd name="connsiteX3" fmla="*/ 3578825 w 3579143"/>
              <a:gd name="connsiteY3" fmla="*/ 1640275 h 3963175"/>
              <a:gd name="connsiteX4" fmla="*/ 3002082 w 3579143"/>
              <a:gd name="connsiteY4" fmla="*/ 3809471 h 3963175"/>
              <a:gd name="connsiteX5" fmla="*/ 2905425 w 3579143"/>
              <a:gd name="connsiteY5" fmla="*/ 3963175 h 3963175"/>
              <a:gd name="connsiteX6" fmla="*/ 0 w 3579143"/>
              <a:gd name="connsiteY6" fmla="*/ 3963175 h 3963175"/>
              <a:gd name="connsiteX7" fmla="*/ 0 w 3579143"/>
              <a:gd name="connsiteY7" fmla="*/ 3175 h 39631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579143" h="3963175">
                <a:moveTo>
                  <a:pt x="0" y="3175"/>
                </a:moveTo>
                <a:lnTo>
                  <a:pt x="3264200" y="0"/>
                </a:lnTo>
                <a:cubicBezTo>
                  <a:pt x="3287387" y="61624"/>
                  <a:pt x="3301369" y="106419"/>
                  <a:pt x="3323644" y="166544"/>
                </a:cubicBezTo>
                <a:cubicBezTo>
                  <a:pt x="3491969" y="623544"/>
                  <a:pt x="3568919" y="877546"/>
                  <a:pt x="3578825" y="1640275"/>
                </a:cubicBezTo>
                <a:cubicBezTo>
                  <a:pt x="3588731" y="2403004"/>
                  <a:pt x="3367257" y="3165146"/>
                  <a:pt x="3002082" y="3809471"/>
                </a:cubicBezTo>
                <a:cubicBezTo>
                  <a:pt x="2973457" y="3863246"/>
                  <a:pt x="3011014" y="3800503"/>
                  <a:pt x="2905425" y="3963175"/>
                </a:cubicBezTo>
                <a:lnTo>
                  <a:pt x="0" y="3963175"/>
                </a:lnTo>
                <a:lnTo>
                  <a:pt x="0" y="3175"/>
                </a:lnTo>
                <a:close/>
              </a:path>
            </a:pathLst>
          </a:custGeom>
          <a:noFill/>
          <a:ln>
            <a:noFill/>
          </a:ln>
        </p:spPr>
        <p:txBody>
          <a:bodyPr lIns="720000" tIns="720000" rIns="720000" bIns="720000">
            <a:normAutofit/>
          </a:bodyPr>
          <a:lstStyle>
            <a:lvl1pPr marL="0" indent="0" algn="ctr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  <p:sp>
        <p:nvSpPr>
          <p:cNvPr id="12" name="Titel 7"/>
          <p:cNvSpPr>
            <a:spLocks noGrp="1"/>
          </p:cNvSpPr>
          <p:nvPr>
            <p:ph type="title" hasCustomPrompt="1"/>
          </p:nvPr>
        </p:nvSpPr>
        <p:spPr>
          <a:xfrm>
            <a:off x="490100" y="387429"/>
            <a:ext cx="11211800" cy="369332"/>
          </a:xfrm>
        </p:spPr>
        <p:txBody>
          <a:bodyPr/>
          <a:lstStyle/>
          <a:p>
            <a:r>
              <a:rPr lang="en-GB" noProof="0" dirty="0"/>
              <a:t>Click to add headline</a:t>
            </a:r>
          </a:p>
        </p:txBody>
      </p:sp>
      <p:sp>
        <p:nvSpPr>
          <p:cNvPr id="14" name="Inhaltsplatzhalter 11"/>
          <p:cNvSpPr>
            <a:spLocks noGrp="1"/>
          </p:cNvSpPr>
          <p:nvPr>
            <p:ph sz="quarter" idx="14" hasCustomPrompt="1"/>
          </p:nvPr>
        </p:nvSpPr>
        <p:spPr>
          <a:xfrm>
            <a:off x="5131199" y="1598400"/>
            <a:ext cx="6570701" cy="4526400"/>
          </a:xfrm>
        </p:spPr>
        <p:txBody>
          <a:bodyPr/>
          <a:lstStyle>
            <a:lvl1pPr>
              <a:defRPr baseline="0"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 noProof="0"/>
              <a:t>Click to add text</a:t>
            </a:r>
          </a:p>
        </p:txBody>
      </p:sp>
      <p:pic>
        <p:nvPicPr>
          <p:cNvPr id="13" name="Grafik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5924" y="6485509"/>
            <a:ext cx="840360" cy="2540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40068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ircle segment_0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 userDrawn="1"/>
        </p:nvSpPr>
        <p:spPr>
          <a:xfrm>
            <a:off x="0" y="2928494"/>
            <a:ext cx="12192000" cy="3929507"/>
          </a:xfrm>
          <a:prstGeom prst="rect">
            <a:avLst/>
          </a:prstGeom>
          <a:gradFill>
            <a:gsLst>
              <a:gs pos="0">
                <a:srgbClr val="6699CC">
                  <a:alpha val="40000"/>
                </a:srgbClr>
              </a:gs>
              <a:gs pos="100000">
                <a:srgbClr val="FFFFFF"/>
              </a:gs>
            </a:gsLst>
            <a:lin ang="162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sz="1400" noProof="0" dirty="0">
              <a:solidFill>
                <a:schemeClr val="tx1"/>
              </a:solidFill>
              <a:latin typeface="BISansOpti"/>
            </a:endParaRPr>
          </a:p>
        </p:txBody>
      </p:sp>
      <p:cxnSp>
        <p:nvCxnSpPr>
          <p:cNvPr id="5" name="Gerade Verbindung 4"/>
          <p:cNvCxnSpPr/>
          <p:nvPr userDrawn="1"/>
        </p:nvCxnSpPr>
        <p:spPr>
          <a:xfrm>
            <a:off x="0" y="971453"/>
            <a:ext cx="12192000" cy="0"/>
          </a:xfrm>
          <a:prstGeom prst="line">
            <a:avLst/>
          </a:prstGeom>
          <a:ln w="12700">
            <a:solidFill>
              <a:srgbClr val="0033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2A498C-1D80-4B80-AE41-5AB124ADE935}" type="datetime1">
              <a:rPr lang="en-GB" smtClean="0"/>
              <a:t>14/12/2021</a:t>
            </a:fld>
            <a:endParaRPr lang="en-GB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CMD T.C.M. / MCM</a:t>
            </a:r>
            <a:endParaRPr lang="en-GB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3B55C4-4F5A-416B-997D-6CE47EB0A94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" name="Rechteck 12"/>
          <p:cNvSpPr/>
          <p:nvPr userDrawn="1"/>
        </p:nvSpPr>
        <p:spPr>
          <a:xfrm>
            <a:off x="5" y="980018"/>
            <a:ext cx="4897308" cy="5281083"/>
          </a:xfrm>
          <a:custGeom>
            <a:avLst/>
            <a:gdLst/>
            <a:ahLst/>
            <a:cxnLst/>
            <a:rect l="l" t="t" r="r" b="b"/>
            <a:pathLst>
              <a:path w="3672981" h="3960812">
                <a:moveTo>
                  <a:pt x="0" y="0"/>
                </a:moveTo>
                <a:lnTo>
                  <a:pt x="3361658" y="0"/>
                </a:lnTo>
                <a:lnTo>
                  <a:pt x="3412473" y="127738"/>
                </a:lnTo>
                <a:cubicBezTo>
                  <a:pt x="3581102" y="597230"/>
                  <a:pt x="3672981" y="1103310"/>
                  <a:pt x="3672981" y="1630850"/>
                </a:cubicBezTo>
                <a:cubicBezTo>
                  <a:pt x="3672981" y="2378998"/>
                  <a:pt x="3488190" y="3083985"/>
                  <a:pt x="3161761" y="3702659"/>
                </a:cubicBezTo>
                <a:lnTo>
                  <a:pt x="3012298" y="3960812"/>
                </a:lnTo>
                <a:lnTo>
                  <a:pt x="0" y="3960812"/>
                </a:lnTo>
                <a:close/>
              </a:path>
            </a:pathLst>
          </a:custGeom>
          <a:solidFill>
            <a:schemeClr val="accent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sz="1400" dirty="0" err="1">
              <a:solidFill>
                <a:schemeClr val="tx1"/>
              </a:solidFill>
              <a:latin typeface="BISansOpti"/>
            </a:endParaRPr>
          </a:p>
        </p:txBody>
      </p:sp>
      <p:sp>
        <p:nvSpPr>
          <p:cNvPr id="11" name="Bildplatzhalter 20"/>
          <p:cNvSpPr>
            <a:spLocks noGrp="1"/>
          </p:cNvSpPr>
          <p:nvPr>
            <p:ph type="pic" sz="quarter" idx="13"/>
          </p:nvPr>
        </p:nvSpPr>
        <p:spPr>
          <a:xfrm>
            <a:off x="-1" y="974967"/>
            <a:ext cx="4772191" cy="5284233"/>
          </a:xfrm>
          <a:custGeom>
            <a:avLst/>
            <a:gdLst>
              <a:gd name="connsiteX0" fmla="*/ 0 w 3582000"/>
              <a:gd name="connsiteY0" fmla="*/ 0 h 3960000"/>
              <a:gd name="connsiteX1" fmla="*/ 1791000 w 3582000"/>
              <a:gd name="connsiteY1" fmla="*/ 0 h 3960000"/>
              <a:gd name="connsiteX2" fmla="*/ 3582000 w 3582000"/>
              <a:gd name="connsiteY2" fmla="*/ 1980000 h 3960000"/>
              <a:gd name="connsiteX3" fmla="*/ 1791000 w 3582000"/>
              <a:gd name="connsiteY3" fmla="*/ 3960000 h 3960000"/>
              <a:gd name="connsiteX4" fmla="*/ 0 w 3582000"/>
              <a:gd name="connsiteY4" fmla="*/ 3960000 h 3960000"/>
              <a:gd name="connsiteX5" fmla="*/ 0 w 3582000"/>
              <a:gd name="connsiteY5" fmla="*/ 0 h 3960000"/>
              <a:gd name="connsiteX0" fmla="*/ 0 w 3669107"/>
              <a:gd name="connsiteY0" fmla="*/ 0 h 3960000"/>
              <a:gd name="connsiteX1" fmla="*/ 1791000 w 3669107"/>
              <a:gd name="connsiteY1" fmla="*/ 0 h 3960000"/>
              <a:gd name="connsiteX2" fmla="*/ 3225219 w 3669107"/>
              <a:gd name="connsiteY2" fmla="*/ 807894 h 3960000"/>
              <a:gd name="connsiteX3" fmla="*/ 3582000 w 3669107"/>
              <a:gd name="connsiteY3" fmla="*/ 1980000 h 3960000"/>
              <a:gd name="connsiteX4" fmla="*/ 1791000 w 3669107"/>
              <a:gd name="connsiteY4" fmla="*/ 3960000 h 3960000"/>
              <a:gd name="connsiteX5" fmla="*/ 0 w 3669107"/>
              <a:gd name="connsiteY5" fmla="*/ 3960000 h 3960000"/>
              <a:gd name="connsiteX6" fmla="*/ 0 w 3669107"/>
              <a:gd name="connsiteY6" fmla="*/ 0 h 3960000"/>
              <a:gd name="connsiteX0" fmla="*/ 0 w 3597300"/>
              <a:gd name="connsiteY0" fmla="*/ 0 h 3960000"/>
              <a:gd name="connsiteX1" fmla="*/ 1791000 w 3597300"/>
              <a:gd name="connsiteY1" fmla="*/ 0 h 3960000"/>
              <a:gd name="connsiteX2" fmla="*/ 3225219 w 3597300"/>
              <a:gd name="connsiteY2" fmla="*/ 807894 h 3960000"/>
              <a:gd name="connsiteX3" fmla="*/ 3582000 w 3597300"/>
              <a:gd name="connsiteY3" fmla="*/ 1980000 h 3960000"/>
              <a:gd name="connsiteX4" fmla="*/ 2862382 w 3597300"/>
              <a:gd name="connsiteY4" fmla="*/ 3307821 h 3960000"/>
              <a:gd name="connsiteX5" fmla="*/ 1791000 w 3597300"/>
              <a:gd name="connsiteY5" fmla="*/ 3960000 h 3960000"/>
              <a:gd name="connsiteX6" fmla="*/ 0 w 3597300"/>
              <a:gd name="connsiteY6" fmla="*/ 3960000 h 3960000"/>
              <a:gd name="connsiteX7" fmla="*/ 0 w 3597300"/>
              <a:gd name="connsiteY7" fmla="*/ 0 h 3960000"/>
              <a:gd name="connsiteX0" fmla="*/ 0 w 3597300"/>
              <a:gd name="connsiteY0" fmla="*/ 0 h 3960000"/>
              <a:gd name="connsiteX1" fmla="*/ 3261025 w 3597300"/>
              <a:gd name="connsiteY1" fmla="*/ 3175 h 3960000"/>
              <a:gd name="connsiteX2" fmla="*/ 3225219 w 3597300"/>
              <a:gd name="connsiteY2" fmla="*/ 807894 h 3960000"/>
              <a:gd name="connsiteX3" fmla="*/ 3582000 w 3597300"/>
              <a:gd name="connsiteY3" fmla="*/ 1980000 h 3960000"/>
              <a:gd name="connsiteX4" fmla="*/ 2862382 w 3597300"/>
              <a:gd name="connsiteY4" fmla="*/ 3307821 h 3960000"/>
              <a:gd name="connsiteX5" fmla="*/ 1791000 w 3597300"/>
              <a:gd name="connsiteY5" fmla="*/ 3960000 h 3960000"/>
              <a:gd name="connsiteX6" fmla="*/ 0 w 3597300"/>
              <a:gd name="connsiteY6" fmla="*/ 3960000 h 3960000"/>
              <a:gd name="connsiteX7" fmla="*/ 0 w 3597300"/>
              <a:gd name="connsiteY7" fmla="*/ 0 h 3960000"/>
              <a:gd name="connsiteX0" fmla="*/ 0 w 3597300"/>
              <a:gd name="connsiteY0" fmla="*/ 0 h 3960000"/>
              <a:gd name="connsiteX1" fmla="*/ 3019725 w 3597300"/>
              <a:gd name="connsiteY1" fmla="*/ 282575 h 3960000"/>
              <a:gd name="connsiteX2" fmla="*/ 3225219 w 3597300"/>
              <a:gd name="connsiteY2" fmla="*/ 807894 h 3960000"/>
              <a:gd name="connsiteX3" fmla="*/ 3582000 w 3597300"/>
              <a:gd name="connsiteY3" fmla="*/ 1980000 h 3960000"/>
              <a:gd name="connsiteX4" fmla="*/ 2862382 w 3597300"/>
              <a:gd name="connsiteY4" fmla="*/ 3307821 h 3960000"/>
              <a:gd name="connsiteX5" fmla="*/ 1791000 w 3597300"/>
              <a:gd name="connsiteY5" fmla="*/ 3960000 h 3960000"/>
              <a:gd name="connsiteX6" fmla="*/ 0 w 3597300"/>
              <a:gd name="connsiteY6" fmla="*/ 3960000 h 3960000"/>
              <a:gd name="connsiteX7" fmla="*/ 0 w 3597300"/>
              <a:gd name="connsiteY7" fmla="*/ 0 h 3960000"/>
              <a:gd name="connsiteX0" fmla="*/ 0 w 3597300"/>
              <a:gd name="connsiteY0" fmla="*/ 3175 h 3963175"/>
              <a:gd name="connsiteX1" fmla="*/ 3264200 w 3597300"/>
              <a:gd name="connsiteY1" fmla="*/ 0 h 3963175"/>
              <a:gd name="connsiteX2" fmla="*/ 3225219 w 3597300"/>
              <a:gd name="connsiteY2" fmla="*/ 811069 h 3963175"/>
              <a:gd name="connsiteX3" fmla="*/ 3582000 w 3597300"/>
              <a:gd name="connsiteY3" fmla="*/ 1983175 h 3963175"/>
              <a:gd name="connsiteX4" fmla="*/ 2862382 w 3597300"/>
              <a:gd name="connsiteY4" fmla="*/ 3310996 h 3963175"/>
              <a:gd name="connsiteX5" fmla="*/ 1791000 w 3597300"/>
              <a:gd name="connsiteY5" fmla="*/ 3963175 h 3963175"/>
              <a:gd name="connsiteX6" fmla="*/ 0 w 3597300"/>
              <a:gd name="connsiteY6" fmla="*/ 3963175 h 3963175"/>
              <a:gd name="connsiteX7" fmla="*/ 0 w 3597300"/>
              <a:gd name="connsiteY7" fmla="*/ 3175 h 3963175"/>
              <a:gd name="connsiteX0" fmla="*/ 0 w 3597300"/>
              <a:gd name="connsiteY0" fmla="*/ 3175 h 3963175"/>
              <a:gd name="connsiteX1" fmla="*/ 3264200 w 3597300"/>
              <a:gd name="connsiteY1" fmla="*/ 0 h 3963175"/>
              <a:gd name="connsiteX2" fmla="*/ 3225219 w 3597300"/>
              <a:gd name="connsiteY2" fmla="*/ 811069 h 3963175"/>
              <a:gd name="connsiteX3" fmla="*/ 3582000 w 3597300"/>
              <a:gd name="connsiteY3" fmla="*/ 1983175 h 3963175"/>
              <a:gd name="connsiteX4" fmla="*/ 2862382 w 3597300"/>
              <a:gd name="connsiteY4" fmla="*/ 3310996 h 3963175"/>
              <a:gd name="connsiteX5" fmla="*/ 1791000 w 3597300"/>
              <a:gd name="connsiteY5" fmla="*/ 3963175 h 3963175"/>
              <a:gd name="connsiteX6" fmla="*/ 0 w 3597300"/>
              <a:gd name="connsiteY6" fmla="*/ 3963175 h 3963175"/>
              <a:gd name="connsiteX7" fmla="*/ 0 w 3597300"/>
              <a:gd name="connsiteY7" fmla="*/ 3175 h 3963175"/>
              <a:gd name="connsiteX0" fmla="*/ 0 w 3616616"/>
              <a:gd name="connsiteY0" fmla="*/ 21630 h 3981630"/>
              <a:gd name="connsiteX1" fmla="*/ 3264200 w 3616616"/>
              <a:gd name="connsiteY1" fmla="*/ 18455 h 3981630"/>
              <a:gd name="connsiteX2" fmla="*/ 3323644 w 3616616"/>
              <a:gd name="connsiteY2" fmla="*/ 184999 h 3981630"/>
              <a:gd name="connsiteX3" fmla="*/ 3582000 w 3616616"/>
              <a:gd name="connsiteY3" fmla="*/ 2001630 h 3981630"/>
              <a:gd name="connsiteX4" fmla="*/ 2862382 w 3616616"/>
              <a:gd name="connsiteY4" fmla="*/ 3329451 h 3981630"/>
              <a:gd name="connsiteX5" fmla="*/ 1791000 w 3616616"/>
              <a:gd name="connsiteY5" fmla="*/ 3981630 h 3981630"/>
              <a:gd name="connsiteX6" fmla="*/ 0 w 3616616"/>
              <a:gd name="connsiteY6" fmla="*/ 3981630 h 3981630"/>
              <a:gd name="connsiteX7" fmla="*/ 0 w 3616616"/>
              <a:gd name="connsiteY7" fmla="*/ 21630 h 3981630"/>
              <a:gd name="connsiteX0" fmla="*/ 0 w 3616616"/>
              <a:gd name="connsiteY0" fmla="*/ 3175 h 3963175"/>
              <a:gd name="connsiteX1" fmla="*/ 3264200 w 3616616"/>
              <a:gd name="connsiteY1" fmla="*/ 0 h 3963175"/>
              <a:gd name="connsiteX2" fmla="*/ 3323644 w 3616616"/>
              <a:gd name="connsiteY2" fmla="*/ 166544 h 3963175"/>
              <a:gd name="connsiteX3" fmla="*/ 3582000 w 3616616"/>
              <a:gd name="connsiteY3" fmla="*/ 1983175 h 3963175"/>
              <a:gd name="connsiteX4" fmla="*/ 2862382 w 3616616"/>
              <a:gd name="connsiteY4" fmla="*/ 3310996 h 3963175"/>
              <a:gd name="connsiteX5" fmla="*/ 1791000 w 3616616"/>
              <a:gd name="connsiteY5" fmla="*/ 3963175 h 3963175"/>
              <a:gd name="connsiteX6" fmla="*/ 0 w 3616616"/>
              <a:gd name="connsiteY6" fmla="*/ 3963175 h 3963175"/>
              <a:gd name="connsiteX7" fmla="*/ 0 w 3616616"/>
              <a:gd name="connsiteY7" fmla="*/ 3175 h 3963175"/>
              <a:gd name="connsiteX0" fmla="*/ 0 w 3601265"/>
              <a:gd name="connsiteY0" fmla="*/ 3175 h 3963175"/>
              <a:gd name="connsiteX1" fmla="*/ 3264200 w 3601265"/>
              <a:gd name="connsiteY1" fmla="*/ 0 h 3963175"/>
              <a:gd name="connsiteX2" fmla="*/ 3323644 w 3601265"/>
              <a:gd name="connsiteY2" fmla="*/ 166544 h 3963175"/>
              <a:gd name="connsiteX3" fmla="*/ 3582000 w 3601265"/>
              <a:gd name="connsiteY3" fmla="*/ 1983175 h 3963175"/>
              <a:gd name="connsiteX4" fmla="*/ 2862382 w 3601265"/>
              <a:gd name="connsiteY4" fmla="*/ 3310996 h 3963175"/>
              <a:gd name="connsiteX5" fmla="*/ 1791000 w 3601265"/>
              <a:gd name="connsiteY5" fmla="*/ 3963175 h 3963175"/>
              <a:gd name="connsiteX6" fmla="*/ 0 w 3601265"/>
              <a:gd name="connsiteY6" fmla="*/ 3963175 h 3963175"/>
              <a:gd name="connsiteX7" fmla="*/ 0 w 3601265"/>
              <a:gd name="connsiteY7" fmla="*/ 3175 h 3963175"/>
              <a:gd name="connsiteX0" fmla="*/ 0 w 3364734"/>
              <a:gd name="connsiteY0" fmla="*/ 3175 h 3963175"/>
              <a:gd name="connsiteX1" fmla="*/ 3264200 w 3364734"/>
              <a:gd name="connsiteY1" fmla="*/ 0 h 3963175"/>
              <a:gd name="connsiteX2" fmla="*/ 3323644 w 3364734"/>
              <a:gd name="connsiteY2" fmla="*/ 166544 h 3963175"/>
              <a:gd name="connsiteX3" fmla="*/ 3016850 w 3364734"/>
              <a:gd name="connsiteY3" fmla="*/ 1614875 h 3963175"/>
              <a:gd name="connsiteX4" fmla="*/ 2862382 w 3364734"/>
              <a:gd name="connsiteY4" fmla="*/ 3310996 h 3963175"/>
              <a:gd name="connsiteX5" fmla="*/ 1791000 w 3364734"/>
              <a:gd name="connsiteY5" fmla="*/ 3963175 h 3963175"/>
              <a:gd name="connsiteX6" fmla="*/ 0 w 3364734"/>
              <a:gd name="connsiteY6" fmla="*/ 3963175 h 3963175"/>
              <a:gd name="connsiteX7" fmla="*/ 0 w 3364734"/>
              <a:gd name="connsiteY7" fmla="*/ 3175 h 3963175"/>
              <a:gd name="connsiteX0" fmla="*/ 0 w 3598344"/>
              <a:gd name="connsiteY0" fmla="*/ 3175 h 3963175"/>
              <a:gd name="connsiteX1" fmla="*/ 3264200 w 3598344"/>
              <a:gd name="connsiteY1" fmla="*/ 0 h 3963175"/>
              <a:gd name="connsiteX2" fmla="*/ 3323644 w 3598344"/>
              <a:gd name="connsiteY2" fmla="*/ 166544 h 3963175"/>
              <a:gd name="connsiteX3" fmla="*/ 3578825 w 3598344"/>
              <a:gd name="connsiteY3" fmla="*/ 1640275 h 3963175"/>
              <a:gd name="connsiteX4" fmla="*/ 2862382 w 3598344"/>
              <a:gd name="connsiteY4" fmla="*/ 3310996 h 3963175"/>
              <a:gd name="connsiteX5" fmla="*/ 1791000 w 3598344"/>
              <a:gd name="connsiteY5" fmla="*/ 3963175 h 3963175"/>
              <a:gd name="connsiteX6" fmla="*/ 0 w 3598344"/>
              <a:gd name="connsiteY6" fmla="*/ 3963175 h 3963175"/>
              <a:gd name="connsiteX7" fmla="*/ 0 w 3598344"/>
              <a:gd name="connsiteY7" fmla="*/ 3175 h 3963175"/>
              <a:gd name="connsiteX0" fmla="*/ 0 w 3612056"/>
              <a:gd name="connsiteY0" fmla="*/ 3175 h 3963175"/>
              <a:gd name="connsiteX1" fmla="*/ 3264200 w 3612056"/>
              <a:gd name="connsiteY1" fmla="*/ 0 h 3963175"/>
              <a:gd name="connsiteX2" fmla="*/ 3323644 w 3612056"/>
              <a:gd name="connsiteY2" fmla="*/ 166544 h 3963175"/>
              <a:gd name="connsiteX3" fmla="*/ 3578825 w 3612056"/>
              <a:gd name="connsiteY3" fmla="*/ 1640275 h 3963175"/>
              <a:gd name="connsiteX4" fmla="*/ 2862382 w 3612056"/>
              <a:gd name="connsiteY4" fmla="*/ 3310996 h 3963175"/>
              <a:gd name="connsiteX5" fmla="*/ 1791000 w 3612056"/>
              <a:gd name="connsiteY5" fmla="*/ 3963175 h 3963175"/>
              <a:gd name="connsiteX6" fmla="*/ 0 w 3612056"/>
              <a:gd name="connsiteY6" fmla="*/ 3963175 h 3963175"/>
              <a:gd name="connsiteX7" fmla="*/ 0 w 3612056"/>
              <a:gd name="connsiteY7" fmla="*/ 3175 h 3963175"/>
              <a:gd name="connsiteX0" fmla="*/ 0 w 3635528"/>
              <a:gd name="connsiteY0" fmla="*/ 3175 h 3963175"/>
              <a:gd name="connsiteX1" fmla="*/ 3264200 w 3635528"/>
              <a:gd name="connsiteY1" fmla="*/ 0 h 3963175"/>
              <a:gd name="connsiteX2" fmla="*/ 3323644 w 3635528"/>
              <a:gd name="connsiteY2" fmla="*/ 166544 h 3963175"/>
              <a:gd name="connsiteX3" fmla="*/ 3578825 w 3635528"/>
              <a:gd name="connsiteY3" fmla="*/ 1640275 h 3963175"/>
              <a:gd name="connsiteX4" fmla="*/ 2862382 w 3635528"/>
              <a:gd name="connsiteY4" fmla="*/ 3310996 h 3963175"/>
              <a:gd name="connsiteX5" fmla="*/ 1791000 w 3635528"/>
              <a:gd name="connsiteY5" fmla="*/ 3963175 h 3963175"/>
              <a:gd name="connsiteX6" fmla="*/ 0 w 3635528"/>
              <a:gd name="connsiteY6" fmla="*/ 3963175 h 3963175"/>
              <a:gd name="connsiteX7" fmla="*/ 0 w 3635528"/>
              <a:gd name="connsiteY7" fmla="*/ 3175 h 3963175"/>
              <a:gd name="connsiteX0" fmla="*/ 0 w 3578828"/>
              <a:gd name="connsiteY0" fmla="*/ 3175 h 3963175"/>
              <a:gd name="connsiteX1" fmla="*/ 3264200 w 3578828"/>
              <a:gd name="connsiteY1" fmla="*/ 0 h 3963175"/>
              <a:gd name="connsiteX2" fmla="*/ 3323644 w 3578828"/>
              <a:gd name="connsiteY2" fmla="*/ 166544 h 3963175"/>
              <a:gd name="connsiteX3" fmla="*/ 3578825 w 3578828"/>
              <a:gd name="connsiteY3" fmla="*/ 1640275 h 3963175"/>
              <a:gd name="connsiteX4" fmla="*/ 2862382 w 3578828"/>
              <a:gd name="connsiteY4" fmla="*/ 3310996 h 3963175"/>
              <a:gd name="connsiteX5" fmla="*/ 1791000 w 3578828"/>
              <a:gd name="connsiteY5" fmla="*/ 3963175 h 3963175"/>
              <a:gd name="connsiteX6" fmla="*/ 0 w 3578828"/>
              <a:gd name="connsiteY6" fmla="*/ 3963175 h 3963175"/>
              <a:gd name="connsiteX7" fmla="*/ 0 w 3578828"/>
              <a:gd name="connsiteY7" fmla="*/ 3175 h 3963175"/>
              <a:gd name="connsiteX0" fmla="*/ 0 w 3578942"/>
              <a:gd name="connsiteY0" fmla="*/ 3175 h 3963175"/>
              <a:gd name="connsiteX1" fmla="*/ 3264200 w 3578942"/>
              <a:gd name="connsiteY1" fmla="*/ 0 h 3963175"/>
              <a:gd name="connsiteX2" fmla="*/ 3323644 w 3578942"/>
              <a:gd name="connsiteY2" fmla="*/ 166544 h 3963175"/>
              <a:gd name="connsiteX3" fmla="*/ 3578825 w 3578942"/>
              <a:gd name="connsiteY3" fmla="*/ 1640275 h 3963175"/>
              <a:gd name="connsiteX4" fmla="*/ 2862382 w 3578942"/>
              <a:gd name="connsiteY4" fmla="*/ 3310996 h 3963175"/>
              <a:gd name="connsiteX5" fmla="*/ 1791000 w 3578942"/>
              <a:gd name="connsiteY5" fmla="*/ 3963175 h 3963175"/>
              <a:gd name="connsiteX6" fmla="*/ 0 w 3578942"/>
              <a:gd name="connsiteY6" fmla="*/ 3963175 h 3963175"/>
              <a:gd name="connsiteX7" fmla="*/ 0 w 3578942"/>
              <a:gd name="connsiteY7" fmla="*/ 3175 h 3963175"/>
              <a:gd name="connsiteX0" fmla="*/ 0 w 3578942"/>
              <a:gd name="connsiteY0" fmla="*/ 3175 h 3963175"/>
              <a:gd name="connsiteX1" fmla="*/ 3264200 w 3578942"/>
              <a:gd name="connsiteY1" fmla="*/ 0 h 3963175"/>
              <a:gd name="connsiteX2" fmla="*/ 3323644 w 3578942"/>
              <a:gd name="connsiteY2" fmla="*/ 166544 h 3963175"/>
              <a:gd name="connsiteX3" fmla="*/ 3578825 w 3578942"/>
              <a:gd name="connsiteY3" fmla="*/ 1640275 h 3963175"/>
              <a:gd name="connsiteX4" fmla="*/ 2862382 w 3578942"/>
              <a:gd name="connsiteY4" fmla="*/ 3310996 h 3963175"/>
              <a:gd name="connsiteX5" fmla="*/ 1791000 w 3578942"/>
              <a:gd name="connsiteY5" fmla="*/ 3963175 h 3963175"/>
              <a:gd name="connsiteX6" fmla="*/ 0 w 3578942"/>
              <a:gd name="connsiteY6" fmla="*/ 3963175 h 3963175"/>
              <a:gd name="connsiteX7" fmla="*/ 0 w 3578942"/>
              <a:gd name="connsiteY7" fmla="*/ 3175 h 3963175"/>
              <a:gd name="connsiteX0" fmla="*/ 0 w 3590408"/>
              <a:gd name="connsiteY0" fmla="*/ 3175 h 3974831"/>
              <a:gd name="connsiteX1" fmla="*/ 3264200 w 3590408"/>
              <a:gd name="connsiteY1" fmla="*/ 0 h 3974831"/>
              <a:gd name="connsiteX2" fmla="*/ 3323644 w 3590408"/>
              <a:gd name="connsiteY2" fmla="*/ 166544 h 3974831"/>
              <a:gd name="connsiteX3" fmla="*/ 3578825 w 3590408"/>
              <a:gd name="connsiteY3" fmla="*/ 1640275 h 3974831"/>
              <a:gd name="connsiteX4" fmla="*/ 3002082 w 3590408"/>
              <a:gd name="connsiteY4" fmla="*/ 3809471 h 3974831"/>
              <a:gd name="connsiteX5" fmla="*/ 1791000 w 3590408"/>
              <a:gd name="connsiteY5" fmla="*/ 3963175 h 3974831"/>
              <a:gd name="connsiteX6" fmla="*/ 0 w 3590408"/>
              <a:gd name="connsiteY6" fmla="*/ 3963175 h 3974831"/>
              <a:gd name="connsiteX7" fmla="*/ 0 w 3590408"/>
              <a:gd name="connsiteY7" fmla="*/ 3175 h 3974831"/>
              <a:gd name="connsiteX0" fmla="*/ 0 w 3590408"/>
              <a:gd name="connsiteY0" fmla="*/ 3175 h 3974831"/>
              <a:gd name="connsiteX1" fmla="*/ 3264200 w 3590408"/>
              <a:gd name="connsiteY1" fmla="*/ 0 h 3974831"/>
              <a:gd name="connsiteX2" fmla="*/ 3323644 w 3590408"/>
              <a:gd name="connsiteY2" fmla="*/ 166544 h 3974831"/>
              <a:gd name="connsiteX3" fmla="*/ 3578825 w 3590408"/>
              <a:gd name="connsiteY3" fmla="*/ 1640275 h 3974831"/>
              <a:gd name="connsiteX4" fmla="*/ 3002082 w 3590408"/>
              <a:gd name="connsiteY4" fmla="*/ 3809471 h 3974831"/>
              <a:gd name="connsiteX5" fmla="*/ 1791000 w 3590408"/>
              <a:gd name="connsiteY5" fmla="*/ 3963175 h 3974831"/>
              <a:gd name="connsiteX6" fmla="*/ 0 w 3590408"/>
              <a:gd name="connsiteY6" fmla="*/ 3963175 h 3974831"/>
              <a:gd name="connsiteX7" fmla="*/ 0 w 3590408"/>
              <a:gd name="connsiteY7" fmla="*/ 3175 h 3974831"/>
              <a:gd name="connsiteX0" fmla="*/ 0 w 3590408"/>
              <a:gd name="connsiteY0" fmla="*/ 3175 h 3975950"/>
              <a:gd name="connsiteX1" fmla="*/ 3264200 w 3590408"/>
              <a:gd name="connsiteY1" fmla="*/ 0 h 3975950"/>
              <a:gd name="connsiteX2" fmla="*/ 3323644 w 3590408"/>
              <a:gd name="connsiteY2" fmla="*/ 166544 h 3975950"/>
              <a:gd name="connsiteX3" fmla="*/ 3578825 w 3590408"/>
              <a:gd name="connsiteY3" fmla="*/ 1640275 h 3975950"/>
              <a:gd name="connsiteX4" fmla="*/ 3002082 w 3590408"/>
              <a:gd name="connsiteY4" fmla="*/ 3809471 h 3975950"/>
              <a:gd name="connsiteX5" fmla="*/ 2908600 w 3590408"/>
              <a:gd name="connsiteY5" fmla="*/ 3966350 h 3975950"/>
              <a:gd name="connsiteX6" fmla="*/ 0 w 3590408"/>
              <a:gd name="connsiteY6" fmla="*/ 3963175 h 3975950"/>
              <a:gd name="connsiteX7" fmla="*/ 0 w 3590408"/>
              <a:gd name="connsiteY7" fmla="*/ 3175 h 3975950"/>
              <a:gd name="connsiteX0" fmla="*/ 0 w 3590408"/>
              <a:gd name="connsiteY0" fmla="*/ 3175 h 3966350"/>
              <a:gd name="connsiteX1" fmla="*/ 3264200 w 3590408"/>
              <a:gd name="connsiteY1" fmla="*/ 0 h 3966350"/>
              <a:gd name="connsiteX2" fmla="*/ 3323644 w 3590408"/>
              <a:gd name="connsiteY2" fmla="*/ 166544 h 3966350"/>
              <a:gd name="connsiteX3" fmla="*/ 3578825 w 3590408"/>
              <a:gd name="connsiteY3" fmla="*/ 1640275 h 3966350"/>
              <a:gd name="connsiteX4" fmla="*/ 3002082 w 3590408"/>
              <a:gd name="connsiteY4" fmla="*/ 3809471 h 3966350"/>
              <a:gd name="connsiteX5" fmla="*/ 2908600 w 3590408"/>
              <a:gd name="connsiteY5" fmla="*/ 3966350 h 3966350"/>
              <a:gd name="connsiteX6" fmla="*/ 0 w 3590408"/>
              <a:gd name="connsiteY6" fmla="*/ 3963175 h 3966350"/>
              <a:gd name="connsiteX7" fmla="*/ 0 w 3590408"/>
              <a:gd name="connsiteY7" fmla="*/ 3175 h 3966350"/>
              <a:gd name="connsiteX0" fmla="*/ 0 w 3590408"/>
              <a:gd name="connsiteY0" fmla="*/ 3175 h 3966350"/>
              <a:gd name="connsiteX1" fmla="*/ 3264200 w 3590408"/>
              <a:gd name="connsiteY1" fmla="*/ 0 h 3966350"/>
              <a:gd name="connsiteX2" fmla="*/ 3323644 w 3590408"/>
              <a:gd name="connsiteY2" fmla="*/ 166544 h 3966350"/>
              <a:gd name="connsiteX3" fmla="*/ 3578825 w 3590408"/>
              <a:gd name="connsiteY3" fmla="*/ 1640275 h 3966350"/>
              <a:gd name="connsiteX4" fmla="*/ 3002082 w 3590408"/>
              <a:gd name="connsiteY4" fmla="*/ 3809471 h 3966350"/>
              <a:gd name="connsiteX5" fmla="*/ 2908600 w 3590408"/>
              <a:gd name="connsiteY5" fmla="*/ 3966350 h 3966350"/>
              <a:gd name="connsiteX6" fmla="*/ 0 w 3590408"/>
              <a:gd name="connsiteY6" fmla="*/ 3963175 h 3966350"/>
              <a:gd name="connsiteX7" fmla="*/ 0 w 3590408"/>
              <a:gd name="connsiteY7" fmla="*/ 3175 h 3966350"/>
              <a:gd name="connsiteX0" fmla="*/ 0 w 3590408"/>
              <a:gd name="connsiteY0" fmla="*/ 3175 h 3966350"/>
              <a:gd name="connsiteX1" fmla="*/ 3264200 w 3590408"/>
              <a:gd name="connsiteY1" fmla="*/ 0 h 3966350"/>
              <a:gd name="connsiteX2" fmla="*/ 3323644 w 3590408"/>
              <a:gd name="connsiteY2" fmla="*/ 166544 h 3966350"/>
              <a:gd name="connsiteX3" fmla="*/ 3578825 w 3590408"/>
              <a:gd name="connsiteY3" fmla="*/ 1640275 h 3966350"/>
              <a:gd name="connsiteX4" fmla="*/ 3002082 w 3590408"/>
              <a:gd name="connsiteY4" fmla="*/ 3809471 h 3966350"/>
              <a:gd name="connsiteX5" fmla="*/ 2908600 w 3590408"/>
              <a:gd name="connsiteY5" fmla="*/ 3966350 h 3966350"/>
              <a:gd name="connsiteX6" fmla="*/ 0 w 3590408"/>
              <a:gd name="connsiteY6" fmla="*/ 3963175 h 3966350"/>
              <a:gd name="connsiteX7" fmla="*/ 0 w 3590408"/>
              <a:gd name="connsiteY7" fmla="*/ 3175 h 3966350"/>
              <a:gd name="connsiteX0" fmla="*/ 0 w 3580367"/>
              <a:gd name="connsiteY0" fmla="*/ 3175 h 3966350"/>
              <a:gd name="connsiteX1" fmla="*/ 3264200 w 3580367"/>
              <a:gd name="connsiteY1" fmla="*/ 0 h 3966350"/>
              <a:gd name="connsiteX2" fmla="*/ 3323644 w 3580367"/>
              <a:gd name="connsiteY2" fmla="*/ 166544 h 3966350"/>
              <a:gd name="connsiteX3" fmla="*/ 3578825 w 3580367"/>
              <a:gd name="connsiteY3" fmla="*/ 1640275 h 3966350"/>
              <a:gd name="connsiteX4" fmla="*/ 3002082 w 3580367"/>
              <a:gd name="connsiteY4" fmla="*/ 3809471 h 3966350"/>
              <a:gd name="connsiteX5" fmla="*/ 2908600 w 3580367"/>
              <a:gd name="connsiteY5" fmla="*/ 3966350 h 3966350"/>
              <a:gd name="connsiteX6" fmla="*/ 0 w 3580367"/>
              <a:gd name="connsiteY6" fmla="*/ 3963175 h 3966350"/>
              <a:gd name="connsiteX7" fmla="*/ 0 w 3580367"/>
              <a:gd name="connsiteY7" fmla="*/ 3175 h 3966350"/>
              <a:gd name="connsiteX0" fmla="*/ 0 w 3578976"/>
              <a:gd name="connsiteY0" fmla="*/ 3175 h 3966350"/>
              <a:gd name="connsiteX1" fmla="*/ 3264200 w 3578976"/>
              <a:gd name="connsiteY1" fmla="*/ 0 h 3966350"/>
              <a:gd name="connsiteX2" fmla="*/ 3323644 w 3578976"/>
              <a:gd name="connsiteY2" fmla="*/ 166544 h 3966350"/>
              <a:gd name="connsiteX3" fmla="*/ 3578825 w 3578976"/>
              <a:gd name="connsiteY3" fmla="*/ 1640275 h 3966350"/>
              <a:gd name="connsiteX4" fmla="*/ 3002082 w 3578976"/>
              <a:gd name="connsiteY4" fmla="*/ 3809471 h 3966350"/>
              <a:gd name="connsiteX5" fmla="*/ 2908600 w 3578976"/>
              <a:gd name="connsiteY5" fmla="*/ 3966350 h 3966350"/>
              <a:gd name="connsiteX6" fmla="*/ 0 w 3578976"/>
              <a:gd name="connsiteY6" fmla="*/ 3963175 h 3966350"/>
              <a:gd name="connsiteX7" fmla="*/ 0 w 3578976"/>
              <a:gd name="connsiteY7" fmla="*/ 3175 h 3966350"/>
              <a:gd name="connsiteX0" fmla="*/ 0 w 3579143"/>
              <a:gd name="connsiteY0" fmla="*/ 3175 h 3966350"/>
              <a:gd name="connsiteX1" fmla="*/ 3264200 w 3579143"/>
              <a:gd name="connsiteY1" fmla="*/ 0 h 3966350"/>
              <a:gd name="connsiteX2" fmla="*/ 3323644 w 3579143"/>
              <a:gd name="connsiteY2" fmla="*/ 166544 h 3966350"/>
              <a:gd name="connsiteX3" fmla="*/ 3578825 w 3579143"/>
              <a:gd name="connsiteY3" fmla="*/ 1640275 h 3966350"/>
              <a:gd name="connsiteX4" fmla="*/ 3002082 w 3579143"/>
              <a:gd name="connsiteY4" fmla="*/ 3809471 h 3966350"/>
              <a:gd name="connsiteX5" fmla="*/ 2908600 w 3579143"/>
              <a:gd name="connsiteY5" fmla="*/ 3966350 h 3966350"/>
              <a:gd name="connsiteX6" fmla="*/ 0 w 3579143"/>
              <a:gd name="connsiteY6" fmla="*/ 3963175 h 3966350"/>
              <a:gd name="connsiteX7" fmla="*/ 0 w 3579143"/>
              <a:gd name="connsiteY7" fmla="*/ 3175 h 3966350"/>
              <a:gd name="connsiteX0" fmla="*/ 0 w 3579143"/>
              <a:gd name="connsiteY0" fmla="*/ 3175 h 4131450"/>
              <a:gd name="connsiteX1" fmla="*/ 3264200 w 3579143"/>
              <a:gd name="connsiteY1" fmla="*/ 0 h 4131450"/>
              <a:gd name="connsiteX2" fmla="*/ 3323644 w 3579143"/>
              <a:gd name="connsiteY2" fmla="*/ 166544 h 4131450"/>
              <a:gd name="connsiteX3" fmla="*/ 3578825 w 3579143"/>
              <a:gd name="connsiteY3" fmla="*/ 1640275 h 4131450"/>
              <a:gd name="connsiteX4" fmla="*/ 3002082 w 3579143"/>
              <a:gd name="connsiteY4" fmla="*/ 3809471 h 4131450"/>
              <a:gd name="connsiteX5" fmla="*/ 3159425 w 3579143"/>
              <a:gd name="connsiteY5" fmla="*/ 4131450 h 4131450"/>
              <a:gd name="connsiteX6" fmla="*/ 0 w 3579143"/>
              <a:gd name="connsiteY6" fmla="*/ 3963175 h 4131450"/>
              <a:gd name="connsiteX7" fmla="*/ 0 w 3579143"/>
              <a:gd name="connsiteY7" fmla="*/ 3175 h 4131450"/>
              <a:gd name="connsiteX0" fmla="*/ 0 w 3579143"/>
              <a:gd name="connsiteY0" fmla="*/ 3175 h 3963175"/>
              <a:gd name="connsiteX1" fmla="*/ 3264200 w 3579143"/>
              <a:gd name="connsiteY1" fmla="*/ 0 h 3963175"/>
              <a:gd name="connsiteX2" fmla="*/ 3323644 w 3579143"/>
              <a:gd name="connsiteY2" fmla="*/ 166544 h 3963175"/>
              <a:gd name="connsiteX3" fmla="*/ 3578825 w 3579143"/>
              <a:gd name="connsiteY3" fmla="*/ 1640275 h 3963175"/>
              <a:gd name="connsiteX4" fmla="*/ 3002082 w 3579143"/>
              <a:gd name="connsiteY4" fmla="*/ 3809471 h 3963175"/>
              <a:gd name="connsiteX5" fmla="*/ 2905425 w 3579143"/>
              <a:gd name="connsiteY5" fmla="*/ 3963175 h 3963175"/>
              <a:gd name="connsiteX6" fmla="*/ 0 w 3579143"/>
              <a:gd name="connsiteY6" fmla="*/ 3963175 h 3963175"/>
              <a:gd name="connsiteX7" fmla="*/ 0 w 3579143"/>
              <a:gd name="connsiteY7" fmla="*/ 3175 h 3963175"/>
              <a:gd name="connsiteX0" fmla="*/ 0 w 3579143"/>
              <a:gd name="connsiteY0" fmla="*/ 3175 h 3963175"/>
              <a:gd name="connsiteX1" fmla="*/ 3264200 w 3579143"/>
              <a:gd name="connsiteY1" fmla="*/ 0 h 3963175"/>
              <a:gd name="connsiteX2" fmla="*/ 3323644 w 3579143"/>
              <a:gd name="connsiteY2" fmla="*/ 166544 h 3963175"/>
              <a:gd name="connsiteX3" fmla="*/ 3578825 w 3579143"/>
              <a:gd name="connsiteY3" fmla="*/ 1640275 h 3963175"/>
              <a:gd name="connsiteX4" fmla="*/ 3002082 w 3579143"/>
              <a:gd name="connsiteY4" fmla="*/ 3809471 h 3963175"/>
              <a:gd name="connsiteX5" fmla="*/ 2905425 w 3579143"/>
              <a:gd name="connsiteY5" fmla="*/ 3963175 h 3963175"/>
              <a:gd name="connsiteX6" fmla="*/ 0 w 3579143"/>
              <a:gd name="connsiteY6" fmla="*/ 3963175 h 3963175"/>
              <a:gd name="connsiteX7" fmla="*/ 0 w 3579143"/>
              <a:gd name="connsiteY7" fmla="*/ 3175 h 3963175"/>
              <a:gd name="connsiteX0" fmla="*/ 0 w 3579143"/>
              <a:gd name="connsiteY0" fmla="*/ 3175 h 3963175"/>
              <a:gd name="connsiteX1" fmla="*/ 3264200 w 3579143"/>
              <a:gd name="connsiteY1" fmla="*/ 0 h 3963175"/>
              <a:gd name="connsiteX2" fmla="*/ 3323644 w 3579143"/>
              <a:gd name="connsiteY2" fmla="*/ 166544 h 3963175"/>
              <a:gd name="connsiteX3" fmla="*/ 3578825 w 3579143"/>
              <a:gd name="connsiteY3" fmla="*/ 1640275 h 3963175"/>
              <a:gd name="connsiteX4" fmla="*/ 3002082 w 3579143"/>
              <a:gd name="connsiteY4" fmla="*/ 3809471 h 3963175"/>
              <a:gd name="connsiteX5" fmla="*/ 2905425 w 3579143"/>
              <a:gd name="connsiteY5" fmla="*/ 3963175 h 3963175"/>
              <a:gd name="connsiteX6" fmla="*/ 0 w 3579143"/>
              <a:gd name="connsiteY6" fmla="*/ 3963175 h 3963175"/>
              <a:gd name="connsiteX7" fmla="*/ 0 w 3579143"/>
              <a:gd name="connsiteY7" fmla="*/ 3175 h 39631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579143" h="3963175">
                <a:moveTo>
                  <a:pt x="0" y="3175"/>
                </a:moveTo>
                <a:lnTo>
                  <a:pt x="3264200" y="0"/>
                </a:lnTo>
                <a:cubicBezTo>
                  <a:pt x="3287387" y="61624"/>
                  <a:pt x="3301369" y="106419"/>
                  <a:pt x="3323644" y="166544"/>
                </a:cubicBezTo>
                <a:cubicBezTo>
                  <a:pt x="3491969" y="623544"/>
                  <a:pt x="3568919" y="877546"/>
                  <a:pt x="3578825" y="1640275"/>
                </a:cubicBezTo>
                <a:cubicBezTo>
                  <a:pt x="3588731" y="2403004"/>
                  <a:pt x="3367257" y="3165146"/>
                  <a:pt x="3002082" y="3809471"/>
                </a:cubicBezTo>
                <a:cubicBezTo>
                  <a:pt x="2973457" y="3863246"/>
                  <a:pt x="3011014" y="3800503"/>
                  <a:pt x="2905425" y="3963175"/>
                </a:cubicBezTo>
                <a:lnTo>
                  <a:pt x="0" y="3963175"/>
                </a:lnTo>
                <a:lnTo>
                  <a:pt x="0" y="3175"/>
                </a:lnTo>
                <a:close/>
              </a:path>
            </a:pathLst>
          </a:custGeom>
          <a:noFill/>
          <a:ln>
            <a:noFill/>
          </a:ln>
        </p:spPr>
        <p:txBody>
          <a:bodyPr lIns="720000" tIns="720000" rIns="720000" bIns="720000">
            <a:normAutofit/>
          </a:bodyPr>
          <a:lstStyle>
            <a:lvl1pPr marL="0" indent="0" algn="ctr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  <p:sp>
        <p:nvSpPr>
          <p:cNvPr id="13" name="Inhaltsplatzhalter 11"/>
          <p:cNvSpPr>
            <a:spLocks noGrp="1"/>
          </p:cNvSpPr>
          <p:nvPr>
            <p:ph sz="quarter" idx="14" hasCustomPrompt="1"/>
          </p:nvPr>
        </p:nvSpPr>
        <p:spPr>
          <a:xfrm>
            <a:off x="5131199" y="1598400"/>
            <a:ext cx="6570701" cy="4526400"/>
          </a:xfrm>
        </p:spPr>
        <p:txBody>
          <a:bodyPr/>
          <a:lstStyle>
            <a:lvl1pPr>
              <a:defRPr baseline="0"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 noProof="0"/>
              <a:t>Click to add text</a:t>
            </a:r>
          </a:p>
        </p:txBody>
      </p:sp>
      <p:sp>
        <p:nvSpPr>
          <p:cNvPr id="12" name="Titel 7"/>
          <p:cNvSpPr>
            <a:spLocks noGrp="1"/>
          </p:cNvSpPr>
          <p:nvPr>
            <p:ph type="title" hasCustomPrompt="1"/>
          </p:nvPr>
        </p:nvSpPr>
        <p:spPr>
          <a:xfrm>
            <a:off x="490100" y="387429"/>
            <a:ext cx="11211800" cy="369332"/>
          </a:xfrm>
        </p:spPr>
        <p:txBody>
          <a:bodyPr/>
          <a:lstStyle/>
          <a:p>
            <a:r>
              <a:rPr lang="en-GB" noProof="0" dirty="0"/>
              <a:t>Click to add headline</a:t>
            </a:r>
          </a:p>
        </p:txBody>
      </p:sp>
      <p:pic>
        <p:nvPicPr>
          <p:cNvPr id="14" name="Grafik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5924" y="6485509"/>
            <a:ext cx="840360" cy="2540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95655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chart englis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hteck 33"/>
          <p:cNvSpPr/>
          <p:nvPr userDrawn="1"/>
        </p:nvSpPr>
        <p:spPr>
          <a:xfrm>
            <a:off x="0" y="2928494"/>
            <a:ext cx="12192000" cy="3929507"/>
          </a:xfrm>
          <a:prstGeom prst="rect">
            <a:avLst/>
          </a:prstGeom>
          <a:gradFill>
            <a:gsLst>
              <a:gs pos="0">
                <a:srgbClr val="6699CC">
                  <a:alpha val="40000"/>
                </a:srgbClr>
              </a:gs>
              <a:gs pos="100000">
                <a:srgbClr val="FFFFFF"/>
              </a:gs>
            </a:gsLst>
            <a:lin ang="162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sz="1400" noProof="0" dirty="0">
              <a:solidFill>
                <a:schemeClr val="tx1"/>
              </a:solidFill>
              <a:latin typeface="BISansOpti"/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6231" t="19013" b="13976"/>
          <a:stretch/>
        </p:blipFill>
        <p:spPr bwMode="auto">
          <a:xfrm>
            <a:off x="0" y="0"/>
            <a:ext cx="8573053" cy="685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24" name="Gerade Verbindung 23"/>
          <p:cNvCxnSpPr/>
          <p:nvPr userDrawn="1"/>
        </p:nvCxnSpPr>
        <p:spPr>
          <a:xfrm>
            <a:off x="2" y="2492389"/>
            <a:ext cx="12191999" cy="0"/>
          </a:xfrm>
          <a:prstGeom prst="line">
            <a:avLst/>
          </a:prstGeom>
          <a:ln w="12700">
            <a:solidFill>
              <a:srgbClr val="0033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Gerade Verbindung 9"/>
          <p:cNvCxnSpPr/>
          <p:nvPr userDrawn="1"/>
        </p:nvCxnSpPr>
        <p:spPr>
          <a:xfrm>
            <a:off x="2" y="2492389"/>
            <a:ext cx="12191999" cy="0"/>
          </a:xfrm>
          <a:prstGeom prst="line">
            <a:avLst/>
          </a:prstGeom>
          <a:ln w="12700">
            <a:solidFill>
              <a:srgbClr val="0033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feld 10"/>
          <p:cNvSpPr txBox="1"/>
          <p:nvPr userDrawn="1"/>
        </p:nvSpPr>
        <p:spPr>
          <a:xfrm>
            <a:off x="490102" y="5313971"/>
            <a:ext cx="1800924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just"/>
            <a:r>
              <a:rPr lang="de-DE" sz="1000" dirty="0">
                <a:solidFill>
                  <a:srgbClr val="1F497D"/>
                </a:solidFill>
                <a:latin typeface="BISansOpti"/>
                <a:cs typeface="BISansOpti"/>
              </a:rPr>
              <a:t>© Boehringer Ingelheim</a:t>
            </a:r>
          </a:p>
        </p:txBody>
      </p:sp>
      <p:sp>
        <p:nvSpPr>
          <p:cNvPr id="13" name="Freeform 1"/>
          <p:cNvSpPr>
            <a:spLocks noChangeAspect="1" noChangeArrowheads="1"/>
          </p:cNvSpPr>
          <p:nvPr userDrawn="1"/>
        </p:nvSpPr>
        <p:spPr bwMode="auto">
          <a:xfrm>
            <a:off x="490103" y="1644786"/>
            <a:ext cx="479996" cy="479996"/>
          </a:xfrm>
          <a:custGeom>
            <a:avLst/>
            <a:gdLst>
              <a:gd name="T0" fmla="*/ 19 w 14438"/>
              <a:gd name="T1" fmla="*/ 766 h 14438"/>
              <a:gd name="T2" fmla="*/ 35 w 14438"/>
              <a:gd name="T3" fmla="*/ 713 h 14438"/>
              <a:gd name="T4" fmla="*/ 95 w 14438"/>
              <a:gd name="T5" fmla="*/ 535 h 14438"/>
              <a:gd name="T6" fmla="*/ 182 w 14438"/>
              <a:gd name="T7" fmla="*/ 382 h 14438"/>
              <a:gd name="T8" fmla="*/ 295 w 14438"/>
              <a:gd name="T9" fmla="*/ 253 h 14438"/>
              <a:gd name="T10" fmla="*/ 434 w 14438"/>
              <a:gd name="T11" fmla="*/ 149 h 14438"/>
              <a:gd name="T12" fmla="*/ 598 w 14438"/>
              <a:gd name="T13" fmla="*/ 69 h 14438"/>
              <a:gd name="T14" fmla="*/ 13628 w 14438"/>
              <a:gd name="T15" fmla="*/ 0 h 14438"/>
              <a:gd name="T16" fmla="*/ 13675 w 14438"/>
              <a:gd name="T17" fmla="*/ 24 h 14438"/>
              <a:gd name="T18" fmla="*/ 13780 w 14438"/>
              <a:gd name="T19" fmla="*/ 53 h 14438"/>
              <a:gd name="T20" fmla="*/ 14011 w 14438"/>
              <a:gd name="T21" fmla="*/ 154 h 14438"/>
              <a:gd name="T22" fmla="*/ 14194 w 14438"/>
              <a:gd name="T23" fmla="*/ 297 h 14438"/>
              <a:gd name="T24" fmla="*/ 14328 w 14438"/>
              <a:gd name="T25" fmla="*/ 482 h 14438"/>
              <a:gd name="T26" fmla="*/ 14409 w 14438"/>
              <a:gd name="T27" fmla="*/ 706 h 14438"/>
              <a:gd name="T28" fmla="*/ 14437 w 14438"/>
              <a:gd name="T29" fmla="*/ 966 h 14438"/>
              <a:gd name="T30" fmla="*/ 14420 w 14438"/>
              <a:gd name="T31" fmla="*/ 13674 h 14438"/>
              <a:gd name="T32" fmla="*/ 14331 w 14438"/>
              <a:gd name="T33" fmla="*/ 13951 h 14438"/>
              <a:gd name="T34" fmla="*/ 14175 w 14438"/>
              <a:gd name="T35" fmla="*/ 14172 h 14438"/>
              <a:gd name="T36" fmla="*/ 13956 w 14438"/>
              <a:gd name="T37" fmla="*/ 14330 h 14438"/>
              <a:gd name="T38" fmla="*/ 13681 w 14438"/>
              <a:gd name="T39" fmla="*/ 14419 h 14438"/>
              <a:gd name="T40" fmla="*/ 10100 w 14438"/>
              <a:gd name="T41" fmla="*/ 14436 h 14438"/>
              <a:gd name="T42" fmla="*/ 9952 w 14438"/>
              <a:gd name="T43" fmla="*/ 14430 h 14438"/>
              <a:gd name="T44" fmla="*/ 11610 w 14438"/>
              <a:gd name="T45" fmla="*/ 9040 h 14438"/>
              <a:gd name="T46" fmla="*/ 11676 w 14438"/>
              <a:gd name="T47" fmla="*/ 9035 h 14438"/>
              <a:gd name="T48" fmla="*/ 11714 w 14438"/>
              <a:gd name="T49" fmla="*/ 9022 h 14438"/>
              <a:gd name="T50" fmla="*/ 11742 w 14438"/>
              <a:gd name="T51" fmla="*/ 8998 h 14438"/>
              <a:gd name="T52" fmla="*/ 11764 w 14438"/>
              <a:gd name="T53" fmla="*/ 8961 h 14438"/>
              <a:gd name="T54" fmla="*/ 11778 w 14438"/>
              <a:gd name="T55" fmla="*/ 8907 h 14438"/>
              <a:gd name="T56" fmla="*/ 9941 w 14438"/>
              <a:gd name="T57" fmla="*/ 6760 h 14438"/>
              <a:gd name="T58" fmla="*/ 9960 w 14438"/>
              <a:gd name="T59" fmla="*/ 5621 h 14438"/>
              <a:gd name="T60" fmla="*/ 10017 w 14438"/>
              <a:gd name="T61" fmla="*/ 5333 h 14438"/>
              <a:gd name="T62" fmla="*/ 10120 w 14438"/>
              <a:gd name="T63" fmla="*/ 5080 h 14438"/>
              <a:gd name="T64" fmla="*/ 10272 w 14438"/>
              <a:gd name="T65" fmla="*/ 4871 h 14438"/>
              <a:gd name="T66" fmla="*/ 10468 w 14438"/>
              <a:gd name="T67" fmla="*/ 4711 h 14438"/>
              <a:gd name="T68" fmla="*/ 10705 w 14438"/>
              <a:gd name="T69" fmla="*/ 4604 h 14438"/>
              <a:gd name="T70" fmla="*/ 10979 w 14438"/>
              <a:gd name="T71" fmla="*/ 4553 h 14438"/>
              <a:gd name="T72" fmla="*/ 11951 w 14438"/>
              <a:gd name="T73" fmla="*/ 4524 h 14438"/>
              <a:gd name="T74" fmla="*/ 12121 w 14438"/>
              <a:gd name="T75" fmla="*/ 2250 h 14438"/>
              <a:gd name="T76" fmla="*/ 10259 w 14438"/>
              <a:gd name="T77" fmla="*/ 2251 h 14438"/>
              <a:gd name="T78" fmla="*/ 9557 w 14438"/>
              <a:gd name="T79" fmla="*/ 2358 h 14438"/>
              <a:gd name="T80" fmla="*/ 8930 w 14438"/>
              <a:gd name="T81" fmla="*/ 2653 h 14438"/>
              <a:gd name="T82" fmla="*/ 8449 w 14438"/>
              <a:gd name="T83" fmla="*/ 3073 h 14438"/>
              <a:gd name="T84" fmla="*/ 8169 w 14438"/>
              <a:gd name="T85" fmla="*/ 3441 h 14438"/>
              <a:gd name="T86" fmla="*/ 7901 w 14438"/>
              <a:gd name="T87" fmla="*/ 3976 h 14438"/>
              <a:gd name="T88" fmla="*/ 7695 w 14438"/>
              <a:gd name="T89" fmla="*/ 4854 h 14438"/>
              <a:gd name="T90" fmla="*/ 7660 w 14438"/>
              <a:gd name="T91" fmla="*/ 5883 h 14438"/>
              <a:gd name="T92" fmla="*/ 5871 w 14438"/>
              <a:gd name="T93" fmla="*/ 6766 h 14438"/>
              <a:gd name="T94" fmla="*/ 7656 w 14438"/>
              <a:gd name="T95" fmla="*/ 14428 h 14438"/>
              <a:gd name="T96" fmla="*/ 7590 w 14438"/>
              <a:gd name="T97" fmla="*/ 14436 h 14438"/>
              <a:gd name="T98" fmla="*/ 820 w 14438"/>
              <a:gd name="T99" fmla="*/ 14431 h 14438"/>
              <a:gd name="T100" fmla="*/ 608 w 14438"/>
              <a:gd name="T101" fmla="*/ 14386 h 14438"/>
              <a:gd name="T102" fmla="*/ 418 w 14438"/>
              <a:gd name="T103" fmla="*/ 14292 h 14438"/>
              <a:gd name="T104" fmla="*/ 257 w 14438"/>
              <a:gd name="T105" fmla="*/ 14157 h 14438"/>
              <a:gd name="T106" fmla="*/ 132 w 14438"/>
              <a:gd name="T107" fmla="*/ 13987 h 14438"/>
              <a:gd name="T108" fmla="*/ 48 w 14438"/>
              <a:gd name="T109" fmla="*/ 13788 h 144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14438" h="14438">
                <a:moveTo>
                  <a:pt x="0" y="13628"/>
                </a:moveTo>
                <a:lnTo>
                  <a:pt x="0" y="818"/>
                </a:lnTo>
                <a:lnTo>
                  <a:pt x="19" y="766"/>
                </a:lnTo>
                <a:lnTo>
                  <a:pt x="28" y="740"/>
                </a:lnTo>
                <a:lnTo>
                  <a:pt x="32" y="726"/>
                </a:lnTo>
                <a:lnTo>
                  <a:pt x="35" y="713"/>
                </a:lnTo>
                <a:lnTo>
                  <a:pt x="52" y="651"/>
                </a:lnTo>
                <a:lnTo>
                  <a:pt x="72" y="591"/>
                </a:lnTo>
                <a:lnTo>
                  <a:pt x="95" y="535"/>
                </a:lnTo>
                <a:lnTo>
                  <a:pt x="122" y="481"/>
                </a:lnTo>
                <a:lnTo>
                  <a:pt x="150" y="430"/>
                </a:lnTo>
                <a:lnTo>
                  <a:pt x="182" y="382"/>
                </a:lnTo>
                <a:lnTo>
                  <a:pt x="217" y="336"/>
                </a:lnTo>
                <a:lnTo>
                  <a:pt x="255" y="293"/>
                </a:lnTo>
                <a:lnTo>
                  <a:pt x="295" y="253"/>
                </a:lnTo>
                <a:lnTo>
                  <a:pt x="339" y="216"/>
                </a:lnTo>
                <a:lnTo>
                  <a:pt x="385" y="181"/>
                </a:lnTo>
                <a:lnTo>
                  <a:pt x="434" y="149"/>
                </a:lnTo>
                <a:lnTo>
                  <a:pt x="486" y="120"/>
                </a:lnTo>
                <a:lnTo>
                  <a:pt x="541" y="93"/>
                </a:lnTo>
                <a:lnTo>
                  <a:pt x="598" y="69"/>
                </a:lnTo>
                <a:lnTo>
                  <a:pt x="659" y="48"/>
                </a:lnTo>
                <a:lnTo>
                  <a:pt x="818" y="0"/>
                </a:lnTo>
                <a:lnTo>
                  <a:pt x="13628" y="0"/>
                </a:lnTo>
                <a:lnTo>
                  <a:pt x="13659" y="16"/>
                </a:lnTo>
                <a:lnTo>
                  <a:pt x="13667" y="20"/>
                </a:lnTo>
                <a:lnTo>
                  <a:pt x="13675" y="24"/>
                </a:lnTo>
                <a:lnTo>
                  <a:pt x="13684" y="27"/>
                </a:lnTo>
                <a:lnTo>
                  <a:pt x="13692" y="29"/>
                </a:lnTo>
                <a:lnTo>
                  <a:pt x="13780" y="53"/>
                </a:lnTo>
                <a:lnTo>
                  <a:pt x="13862" y="81"/>
                </a:lnTo>
                <a:lnTo>
                  <a:pt x="13939" y="115"/>
                </a:lnTo>
                <a:lnTo>
                  <a:pt x="14011" y="154"/>
                </a:lnTo>
                <a:lnTo>
                  <a:pt x="14078" y="197"/>
                </a:lnTo>
                <a:lnTo>
                  <a:pt x="14139" y="245"/>
                </a:lnTo>
                <a:lnTo>
                  <a:pt x="14194" y="297"/>
                </a:lnTo>
                <a:lnTo>
                  <a:pt x="14245" y="355"/>
                </a:lnTo>
                <a:lnTo>
                  <a:pt x="14289" y="416"/>
                </a:lnTo>
                <a:lnTo>
                  <a:pt x="14328" y="482"/>
                </a:lnTo>
                <a:lnTo>
                  <a:pt x="14361" y="553"/>
                </a:lnTo>
                <a:lnTo>
                  <a:pt x="14388" y="627"/>
                </a:lnTo>
                <a:lnTo>
                  <a:pt x="14409" y="706"/>
                </a:lnTo>
                <a:lnTo>
                  <a:pt x="14425" y="788"/>
                </a:lnTo>
                <a:lnTo>
                  <a:pt x="14434" y="875"/>
                </a:lnTo>
                <a:lnTo>
                  <a:pt x="14437" y="966"/>
                </a:lnTo>
                <a:lnTo>
                  <a:pt x="14437" y="13462"/>
                </a:lnTo>
                <a:lnTo>
                  <a:pt x="14433" y="13571"/>
                </a:lnTo>
                <a:lnTo>
                  <a:pt x="14420" y="13674"/>
                </a:lnTo>
                <a:lnTo>
                  <a:pt x="14398" y="13772"/>
                </a:lnTo>
                <a:lnTo>
                  <a:pt x="14369" y="13864"/>
                </a:lnTo>
                <a:lnTo>
                  <a:pt x="14331" y="13951"/>
                </a:lnTo>
                <a:lnTo>
                  <a:pt x="14286" y="14031"/>
                </a:lnTo>
                <a:lnTo>
                  <a:pt x="14234" y="14105"/>
                </a:lnTo>
                <a:lnTo>
                  <a:pt x="14175" y="14172"/>
                </a:lnTo>
                <a:lnTo>
                  <a:pt x="14108" y="14232"/>
                </a:lnTo>
                <a:lnTo>
                  <a:pt x="14035" y="14284"/>
                </a:lnTo>
                <a:lnTo>
                  <a:pt x="13956" y="14330"/>
                </a:lnTo>
                <a:lnTo>
                  <a:pt x="13870" y="14368"/>
                </a:lnTo>
                <a:lnTo>
                  <a:pt x="13779" y="14397"/>
                </a:lnTo>
                <a:lnTo>
                  <a:pt x="13681" y="14419"/>
                </a:lnTo>
                <a:lnTo>
                  <a:pt x="13579" y="14432"/>
                </a:lnTo>
                <a:lnTo>
                  <a:pt x="13471" y="14437"/>
                </a:lnTo>
                <a:lnTo>
                  <a:pt x="10100" y="14436"/>
                </a:lnTo>
                <a:lnTo>
                  <a:pt x="10063" y="14435"/>
                </a:lnTo>
                <a:lnTo>
                  <a:pt x="10026" y="14434"/>
                </a:lnTo>
                <a:lnTo>
                  <a:pt x="9952" y="14430"/>
                </a:lnTo>
                <a:lnTo>
                  <a:pt x="9952" y="9038"/>
                </a:lnTo>
                <a:lnTo>
                  <a:pt x="10115" y="9038"/>
                </a:lnTo>
                <a:lnTo>
                  <a:pt x="11610" y="9040"/>
                </a:lnTo>
                <a:lnTo>
                  <a:pt x="11646" y="9039"/>
                </a:lnTo>
                <a:lnTo>
                  <a:pt x="11661" y="9038"/>
                </a:lnTo>
                <a:lnTo>
                  <a:pt x="11676" y="9035"/>
                </a:lnTo>
                <a:lnTo>
                  <a:pt x="11690" y="9032"/>
                </a:lnTo>
                <a:lnTo>
                  <a:pt x="11702" y="9027"/>
                </a:lnTo>
                <a:lnTo>
                  <a:pt x="11714" y="9022"/>
                </a:lnTo>
                <a:lnTo>
                  <a:pt x="11724" y="9015"/>
                </a:lnTo>
                <a:lnTo>
                  <a:pt x="11734" y="9007"/>
                </a:lnTo>
                <a:lnTo>
                  <a:pt x="11742" y="8998"/>
                </a:lnTo>
                <a:lnTo>
                  <a:pt x="11750" y="8987"/>
                </a:lnTo>
                <a:lnTo>
                  <a:pt x="11757" y="8975"/>
                </a:lnTo>
                <a:lnTo>
                  <a:pt x="11764" y="8961"/>
                </a:lnTo>
                <a:lnTo>
                  <a:pt x="11769" y="8945"/>
                </a:lnTo>
                <a:lnTo>
                  <a:pt x="11774" y="8927"/>
                </a:lnTo>
                <a:lnTo>
                  <a:pt x="11778" y="8907"/>
                </a:lnTo>
                <a:lnTo>
                  <a:pt x="12106" y="7266"/>
                </a:lnTo>
                <a:lnTo>
                  <a:pt x="12201" y="6760"/>
                </a:lnTo>
                <a:lnTo>
                  <a:pt x="9941" y="6760"/>
                </a:lnTo>
                <a:lnTo>
                  <a:pt x="9944" y="5817"/>
                </a:lnTo>
                <a:lnTo>
                  <a:pt x="9950" y="5719"/>
                </a:lnTo>
                <a:lnTo>
                  <a:pt x="9960" y="5621"/>
                </a:lnTo>
                <a:lnTo>
                  <a:pt x="9976" y="5523"/>
                </a:lnTo>
                <a:lnTo>
                  <a:pt x="9994" y="5427"/>
                </a:lnTo>
                <a:lnTo>
                  <a:pt x="10017" y="5333"/>
                </a:lnTo>
                <a:lnTo>
                  <a:pt x="10046" y="5244"/>
                </a:lnTo>
                <a:lnTo>
                  <a:pt x="10080" y="5159"/>
                </a:lnTo>
                <a:lnTo>
                  <a:pt x="10120" y="5080"/>
                </a:lnTo>
                <a:lnTo>
                  <a:pt x="10166" y="5005"/>
                </a:lnTo>
                <a:lnTo>
                  <a:pt x="10216" y="4936"/>
                </a:lnTo>
                <a:lnTo>
                  <a:pt x="10272" y="4871"/>
                </a:lnTo>
                <a:lnTo>
                  <a:pt x="10332" y="4812"/>
                </a:lnTo>
                <a:lnTo>
                  <a:pt x="10398" y="4759"/>
                </a:lnTo>
                <a:lnTo>
                  <a:pt x="10468" y="4711"/>
                </a:lnTo>
                <a:lnTo>
                  <a:pt x="10542" y="4669"/>
                </a:lnTo>
                <a:lnTo>
                  <a:pt x="10621" y="4633"/>
                </a:lnTo>
                <a:lnTo>
                  <a:pt x="10705" y="4604"/>
                </a:lnTo>
                <a:lnTo>
                  <a:pt x="10792" y="4580"/>
                </a:lnTo>
                <a:lnTo>
                  <a:pt x="10884" y="4563"/>
                </a:lnTo>
                <a:lnTo>
                  <a:pt x="10979" y="4553"/>
                </a:lnTo>
                <a:lnTo>
                  <a:pt x="11222" y="4539"/>
                </a:lnTo>
                <a:lnTo>
                  <a:pt x="11465" y="4532"/>
                </a:lnTo>
                <a:lnTo>
                  <a:pt x="11951" y="4524"/>
                </a:lnTo>
                <a:lnTo>
                  <a:pt x="12187" y="4524"/>
                </a:lnTo>
                <a:lnTo>
                  <a:pt x="12187" y="2254"/>
                </a:lnTo>
                <a:lnTo>
                  <a:pt x="12121" y="2250"/>
                </a:lnTo>
                <a:lnTo>
                  <a:pt x="12092" y="2249"/>
                </a:lnTo>
                <a:lnTo>
                  <a:pt x="12064" y="2248"/>
                </a:lnTo>
                <a:lnTo>
                  <a:pt x="10259" y="2251"/>
                </a:lnTo>
                <a:lnTo>
                  <a:pt x="10017" y="2266"/>
                </a:lnTo>
                <a:lnTo>
                  <a:pt x="9783" y="2301"/>
                </a:lnTo>
                <a:lnTo>
                  <a:pt x="9557" y="2358"/>
                </a:lnTo>
                <a:lnTo>
                  <a:pt x="9339" y="2435"/>
                </a:lnTo>
                <a:lnTo>
                  <a:pt x="9130" y="2533"/>
                </a:lnTo>
                <a:lnTo>
                  <a:pt x="8930" y="2653"/>
                </a:lnTo>
                <a:lnTo>
                  <a:pt x="8740" y="2794"/>
                </a:lnTo>
                <a:lnTo>
                  <a:pt x="8559" y="2958"/>
                </a:lnTo>
                <a:lnTo>
                  <a:pt x="8449" y="3073"/>
                </a:lnTo>
                <a:lnTo>
                  <a:pt x="8348" y="3193"/>
                </a:lnTo>
                <a:lnTo>
                  <a:pt x="8254" y="3315"/>
                </a:lnTo>
                <a:lnTo>
                  <a:pt x="8169" y="3441"/>
                </a:lnTo>
                <a:lnTo>
                  <a:pt x="8091" y="3570"/>
                </a:lnTo>
                <a:lnTo>
                  <a:pt x="8021" y="3703"/>
                </a:lnTo>
                <a:lnTo>
                  <a:pt x="7901" y="3976"/>
                </a:lnTo>
                <a:lnTo>
                  <a:pt x="7808" y="4259"/>
                </a:lnTo>
                <a:lnTo>
                  <a:pt x="7740" y="4553"/>
                </a:lnTo>
                <a:lnTo>
                  <a:pt x="7695" y="4854"/>
                </a:lnTo>
                <a:lnTo>
                  <a:pt x="7670" y="5164"/>
                </a:lnTo>
                <a:lnTo>
                  <a:pt x="7660" y="5523"/>
                </a:lnTo>
                <a:lnTo>
                  <a:pt x="7660" y="5883"/>
                </a:lnTo>
                <a:lnTo>
                  <a:pt x="7665" y="6603"/>
                </a:lnTo>
                <a:lnTo>
                  <a:pt x="7665" y="6766"/>
                </a:lnTo>
                <a:lnTo>
                  <a:pt x="5871" y="6766"/>
                </a:lnTo>
                <a:lnTo>
                  <a:pt x="5871" y="9041"/>
                </a:lnTo>
                <a:lnTo>
                  <a:pt x="7656" y="9041"/>
                </a:lnTo>
                <a:lnTo>
                  <a:pt x="7656" y="14428"/>
                </a:lnTo>
                <a:lnTo>
                  <a:pt x="7616" y="14433"/>
                </a:lnTo>
                <a:lnTo>
                  <a:pt x="7598" y="14435"/>
                </a:lnTo>
                <a:lnTo>
                  <a:pt x="7590" y="14436"/>
                </a:lnTo>
                <a:lnTo>
                  <a:pt x="7581" y="14436"/>
                </a:lnTo>
                <a:lnTo>
                  <a:pt x="895" y="14434"/>
                </a:lnTo>
                <a:lnTo>
                  <a:pt x="820" y="14431"/>
                </a:lnTo>
                <a:lnTo>
                  <a:pt x="748" y="14422"/>
                </a:lnTo>
                <a:lnTo>
                  <a:pt x="677" y="14407"/>
                </a:lnTo>
                <a:lnTo>
                  <a:pt x="608" y="14386"/>
                </a:lnTo>
                <a:lnTo>
                  <a:pt x="542" y="14360"/>
                </a:lnTo>
                <a:lnTo>
                  <a:pt x="479" y="14328"/>
                </a:lnTo>
                <a:lnTo>
                  <a:pt x="418" y="14292"/>
                </a:lnTo>
                <a:lnTo>
                  <a:pt x="361" y="14252"/>
                </a:lnTo>
                <a:lnTo>
                  <a:pt x="307" y="14207"/>
                </a:lnTo>
                <a:lnTo>
                  <a:pt x="257" y="14157"/>
                </a:lnTo>
                <a:lnTo>
                  <a:pt x="211" y="14104"/>
                </a:lnTo>
                <a:lnTo>
                  <a:pt x="169" y="14047"/>
                </a:lnTo>
                <a:lnTo>
                  <a:pt x="132" y="13987"/>
                </a:lnTo>
                <a:lnTo>
                  <a:pt x="99" y="13923"/>
                </a:lnTo>
                <a:lnTo>
                  <a:pt x="71" y="13857"/>
                </a:lnTo>
                <a:lnTo>
                  <a:pt x="48" y="13788"/>
                </a:lnTo>
                <a:lnTo>
                  <a:pt x="0" y="13628"/>
                </a:lnTo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wrap="none" anchor="ctr"/>
          <a:lstStyle/>
          <a:p>
            <a:endParaRPr lang="de-DE" sz="1800" dirty="0">
              <a:solidFill>
                <a:srgbClr val="123563"/>
              </a:solidFill>
              <a:latin typeface="BISansOpti"/>
            </a:endParaRPr>
          </a:p>
        </p:txBody>
      </p:sp>
      <p:sp>
        <p:nvSpPr>
          <p:cNvPr id="14" name="Freeform 2"/>
          <p:cNvSpPr>
            <a:spLocks noChangeAspect="1" noChangeArrowheads="1"/>
          </p:cNvSpPr>
          <p:nvPr userDrawn="1"/>
        </p:nvSpPr>
        <p:spPr bwMode="auto">
          <a:xfrm>
            <a:off x="1360311" y="1680736"/>
            <a:ext cx="528000" cy="431205"/>
          </a:xfrm>
          <a:custGeom>
            <a:avLst/>
            <a:gdLst>
              <a:gd name="T0" fmla="*/ 2302 w 14384"/>
              <a:gd name="T1" fmla="*/ 10229 h 11746"/>
              <a:gd name="T2" fmla="*/ 4222 w 14384"/>
              <a:gd name="T3" fmla="*/ 9176 h 11746"/>
              <a:gd name="T4" fmla="*/ 3544 w 14384"/>
              <a:gd name="T5" fmla="*/ 9052 h 11746"/>
              <a:gd name="T6" fmla="*/ 2627 w 14384"/>
              <a:gd name="T7" fmla="*/ 8581 h 11746"/>
              <a:gd name="T8" fmla="*/ 2100 w 14384"/>
              <a:gd name="T9" fmla="*/ 8065 h 11746"/>
              <a:gd name="T10" fmla="*/ 1633 w 14384"/>
              <a:gd name="T11" fmla="*/ 7227 h 11746"/>
              <a:gd name="T12" fmla="*/ 1622 w 14384"/>
              <a:gd name="T13" fmla="*/ 7169 h 11746"/>
              <a:gd name="T14" fmla="*/ 1631 w 14384"/>
              <a:gd name="T15" fmla="*/ 7150 h 11746"/>
              <a:gd name="T16" fmla="*/ 1654 w 14384"/>
              <a:gd name="T17" fmla="*/ 7142 h 11746"/>
              <a:gd name="T18" fmla="*/ 1884 w 14384"/>
              <a:gd name="T19" fmla="*/ 7165 h 11746"/>
              <a:gd name="T20" fmla="*/ 2540 w 14384"/>
              <a:gd name="T21" fmla="*/ 7153 h 11746"/>
              <a:gd name="T22" fmla="*/ 2848 w 14384"/>
              <a:gd name="T23" fmla="*/ 7095 h 11746"/>
              <a:gd name="T24" fmla="*/ 1895 w 14384"/>
              <a:gd name="T25" fmla="*/ 6602 h 11746"/>
              <a:gd name="T26" fmla="*/ 974 w 14384"/>
              <a:gd name="T27" fmla="*/ 5689 h 11746"/>
              <a:gd name="T28" fmla="*/ 567 w 14384"/>
              <a:gd name="T29" fmla="*/ 4595 h 11746"/>
              <a:gd name="T30" fmla="*/ 1040 w 14384"/>
              <a:gd name="T31" fmla="*/ 4344 h 11746"/>
              <a:gd name="T32" fmla="*/ 1878 w 14384"/>
              <a:gd name="T33" fmla="*/ 4497 h 11746"/>
              <a:gd name="T34" fmla="*/ 1298 w 14384"/>
              <a:gd name="T35" fmla="*/ 3967 h 11746"/>
              <a:gd name="T36" fmla="*/ 726 w 14384"/>
              <a:gd name="T37" fmla="*/ 2940 h 11746"/>
              <a:gd name="T38" fmla="*/ 592 w 14384"/>
              <a:gd name="T39" fmla="*/ 1831 h 11746"/>
              <a:gd name="T40" fmla="*/ 824 w 14384"/>
              <a:gd name="T41" fmla="*/ 868 h 11746"/>
              <a:gd name="T42" fmla="*/ 964 w 14384"/>
              <a:gd name="T43" fmla="*/ 589 h 11746"/>
              <a:gd name="T44" fmla="*/ 983 w 14384"/>
              <a:gd name="T45" fmla="*/ 577 h 11746"/>
              <a:gd name="T46" fmla="*/ 1005 w 14384"/>
              <a:gd name="T47" fmla="*/ 584 h 11746"/>
              <a:gd name="T48" fmla="*/ 1596 w 14384"/>
              <a:gd name="T49" fmla="*/ 1214 h 11746"/>
              <a:gd name="T50" fmla="*/ 4660 w 14384"/>
              <a:gd name="T51" fmla="*/ 3154 h 11746"/>
              <a:gd name="T52" fmla="*/ 6964 w 14384"/>
              <a:gd name="T53" fmla="*/ 3640 h 11746"/>
              <a:gd name="T54" fmla="*/ 7045 w 14384"/>
              <a:gd name="T55" fmla="*/ 3637 h 11746"/>
              <a:gd name="T56" fmla="*/ 7063 w 14384"/>
              <a:gd name="T57" fmla="*/ 3624 h 11746"/>
              <a:gd name="T58" fmla="*/ 7074 w 14384"/>
              <a:gd name="T59" fmla="*/ 3590 h 11746"/>
              <a:gd name="T60" fmla="*/ 7020 w 14384"/>
              <a:gd name="T61" fmla="*/ 2949 h 11746"/>
              <a:gd name="T62" fmla="*/ 7333 w 14384"/>
              <a:gd name="T63" fmla="*/ 1628 h 11746"/>
              <a:gd name="T64" fmla="*/ 8184 w 14384"/>
              <a:gd name="T65" fmla="*/ 606 h 11746"/>
              <a:gd name="T66" fmla="*/ 9383 w 14384"/>
              <a:gd name="T67" fmla="*/ 70 h 11746"/>
              <a:gd name="T68" fmla="*/ 10325 w 14384"/>
              <a:gd name="T69" fmla="*/ 15 h 11746"/>
              <a:gd name="T70" fmla="*/ 11198 w 14384"/>
              <a:gd name="T71" fmla="*/ 263 h 11746"/>
              <a:gd name="T72" fmla="*/ 11995 w 14384"/>
              <a:gd name="T73" fmla="*/ 807 h 11746"/>
              <a:gd name="T74" fmla="*/ 12123 w 14384"/>
              <a:gd name="T75" fmla="*/ 892 h 11746"/>
              <a:gd name="T76" fmla="*/ 12231 w 14384"/>
              <a:gd name="T77" fmla="*/ 915 h 11746"/>
              <a:gd name="T78" fmla="*/ 12744 w 14384"/>
              <a:gd name="T79" fmla="*/ 787 h 11746"/>
              <a:gd name="T80" fmla="*/ 13860 w 14384"/>
              <a:gd name="T81" fmla="*/ 315 h 11746"/>
              <a:gd name="T82" fmla="*/ 13966 w 14384"/>
              <a:gd name="T83" fmla="*/ 263 h 11746"/>
              <a:gd name="T84" fmla="*/ 13995 w 14384"/>
              <a:gd name="T85" fmla="*/ 269 h 11746"/>
              <a:gd name="T86" fmla="*/ 13527 w 14384"/>
              <a:gd name="T87" fmla="*/ 1148 h 11746"/>
              <a:gd name="T88" fmla="*/ 12830 w 14384"/>
              <a:gd name="T89" fmla="*/ 1838 h 11746"/>
              <a:gd name="T90" fmla="*/ 13292 w 14384"/>
              <a:gd name="T91" fmla="*/ 1763 h 11746"/>
              <a:gd name="T92" fmla="*/ 13785 w 14384"/>
              <a:gd name="T93" fmla="*/ 1631 h 11746"/>
              <a:gd name="T94" fmla="*/ 14219 w 14384"/>
              <a:gd name="T95" fmla="*/ 1479 h 11746"/>
              <a:gd name="T96" fmla="*/ 14275 w 14384"/>
              <a:gd name="T97" fmla="*/ 1604 h 11746"/>
              <a:gd name="T98" fmla="*/ 13501 w 14384"/>
              <a:gd name="T99" fmla="*/ 2473 h 11746"/>
              <a:gd name="T100" fmla="*/ 13009 w 14384"/>
              <a:gd name="T101" fmla="*/ 2877 h 11746"/>
              <a:gd name="T102" fmla="*/ 12970 w 14384"/>
              <a:gd name="T103" fmla="*/ 2930 h 11746"/>
              <a:gd name="T104" fmla="*/ 12953 w 14384"/>
              <a:gd name="T105" fmla="*/ 2990 h 11746"/>
              <a:gd name="T106" fmla="*/ 12687 w 14384"/>
              <a:gd name="T107" fmla="*/ 5388 h 11746"/>
              <a:gd name="T108" fmla="*/ 10923 w 14384"/>
              <a:gd name="T109" fmla="*/ 8821 h 11746"/>
              <a:gd name="T110" fmla="*/ 8211 w 14384"/>
              <a:gd name="T111" fmla="*/ 10949 h 11746"/>
              <a:gd name="T112" fmla="*/ 4606 w 14384"/>
              <a:gd name="T113" fmla="*/ 11745 h 11746"/>
              <a:gd name="T114" fmla="*/ 819 w 14384"/>
              <a:gd name="T115" fmla="*/ 10882 h 117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14384" h="11746">
                <a:moveTo>
                  <a:pt x="0" y="10417"/>
                </a:moveTo>
                <a:lnTo>
                  <a:pt x="600" y="10448"/>
                </a:lnTo>
                <a:lnTo>
                  <a:pt x="1183" y="10428"/>
                </a:lnTo>
                <a:lnTo>
                  <a:pt x="1751" y="10355"/>
                </a:lnTo>
                <a:lnTo>
                  <a:pt x="2302" y="10229"/>
                </a:lnTo>
                <a:lnTo>
                  <a:pt x="2839" y="10049"/>
                </a:lnTo>
                <a:lnTo>
                  <a:pt x="3362" y="9816"/>
                </a:lnTo>
                <a:lnTo>
                  <a:pt x="3872" y="9528"/>
                </a:lnTo>
                <a:lnTo>
                  <a:pt x="4370" y="9184"/>
                </a:lnTo>
                <a:lnTo>
                  <a:pt x="4222" y="9176"/>
                </a:lnTo>
                <a:lnTo>
                  <a:pt x="4079" y="9163"/>
                </a:lnTo>
                <a:lnTo>
                  <a:pt x="3940" y="9144"/>
                </a:lnTo>
                <a:lnTo>
                  <a:pt x="3805" y="9120"/>
                </a:lnTo>
                <a:lnTo>
                  <a:pt x="3674" y="9089"/>
                </a:lnTo>
                <a:lnTo>
                  <a:pt x="3544" y="9052"/>
                </a:lnTo>
                <a:lnTo>
                  <a:pt x="3418" y="9010"/>
                </a:lnTo>
                <a:lnTo>
                  <a:pt x="3293" y="8960"/>
                </a:lnTo>
                <a:lnTo>
                  <a:pt x="3010" y="8825"/>
                </a:lnTo>
                <a:lnTo>
                  <a:pt x="2749" y="8667"/>
                </a:lnTo>
                <a:lnTo>
                  <a:pt x="2627" y="8581"/>
                </a:lnTo>
                <a:lnTo>
                  <a:pt x="2511" y="8488"/>
                </a:lnTo>
                <a:lnTo>
                  <a:pt x="2400" y="8391"/>
                </a:lnTo>
                <a:lnTo>
                  <a:pt x="2294" y="8288"/>
                </a:lnTo>
                <a:lnTo>
                  <a:pt x="2195" y="8179"/>
                </a:lnTo>
                <a:lnTo>
                  <a:pt x="2100" y="8065"/>
                </a:lnTo>
                <a:lnTo>
                  <a:pt x="2012" y="7946"/>
                </a:lnTo>
                <a:lnTo>
                  <a:pt x="1928" y="7822"/>
                </a:lnTo>
                <a:lnTo>
                  <a:pt x="1778" y="7557"/>
                </a:lnTo>
                <a:lnTo>
                  <a:pt x="1650" y="7271"/>
                </a:lnTo>
                <a:lnTo>
                  <a:pt x="1633" y="7227"/>
                </a:lnTo>
                <a:lnTo>
                  <a:pt x="1628" y="7209"/>
                </a:lnTo>
                <a:lnTo>
                  <a:pt x="1624" y="7194"/>
                </a:lnTo>
                <a:lnTo>
                  <a:pt x="1622" y="7180"/>
                </a:lnTo>
                <a:lnTo>
                  <a:pt x="1621" y="7175"/>
                </a:lnTo>
                <a:lnTo>
                  <a:pt x="1622" y="7169"/>
                </a:lnTo>
                <a:lnTo>
                  <a:pt x="1622" y="7164"/>
                </a:lnTo>
                <a:lnTo>
                  <a:pt x="1624" y="7160"/>
                </a:lnTo>
                <a:lnTo>
                  <a:pt x="1625" y="7156"/>
                </a:lnTo>
                <a:lnTo>
                  <a:pt x="1628" y="7153"/>
                </a:lnTo>
                <a:lnTo>
                  <a:pt x="1631" y="7150"/>
                </a:lnTo>
                <a:lnTo>
                  <a:pt x="1634" y="7148"/>
                </a:lnTo>
                <a:lnTo>
                  <a:pt x="1638" y="7146"/>
                </a:lnTo>
                <a:lnTo>
                  <a:pt x="1643" y="7144"/>
                </a:lnTo>
                <a:lnTo>
                  <a:pt x="1648" y="7143"/>
                </a:lnTo>
                <a:lnTo>
                  <a:pt x="1654" y="7142"/>
                </a:lnTo>
                <a:lnTo>
                  <a:pt x="1668" y="7141"/>
                </a:lnTo>
                <a:lnTo>
                  <a:pt x="1685" y="7142"/>
                </a:lnTo>
                <a:lnTo>
                  <a:pt x="1704" y="7143"/>
                </a:lnTo>
                <a:lnTo>
                  <a:pt x="1752" y="7149"/>
                </a:lnTo>
                <a:lnTo>
                  <a:pt x="1884" y="7165"/>
                </a:lnTo>
                <a:lnTo>
                  <a:pt x="2015" y="7175"/>
                </a:lnTo>
                <a:lnTo>
                  <a:pt x="2147" y="7178"/>
                </a:lnTo>
                <a:lnTo>
                  <a:pt x="2278" y="7176"/>
                </a:lnTo>
                <a:lnTo>
                  <a:pt x="2409" y="7167"/>
                </a:lnTo>
                <a:lnTo>
                  <a:pt x="2540" y="7153"/>
                </a:lnTo>
                <a:lnTo>
                  <a:pt x="2671" y="7134"/>
                </a:lnTo>
                <a:lnTo>
                  <a:pt x="2802" y="7109"/>
                </a:lnTo>
                <a:lnTo>
                  <a:pt x="2813" y="7106"/>
                </a:lnTo>
                <a:lnTo>
                  <a:pt x="2825" y="7103"/>
                </a:lnTo>
                <a:lnTo>
                  <a:pt x="2848" y="7095"/>
                </a:lnTo>
                <a:lnTo>
                  <a:pt x="2900" y="7074"/>
                </a:lnTo>
                <a:lnTo>
                  <a:pt x="2631" y="6984"/>
                </a:lnTo>
                <a:lnTo>
                  <a:pt x="2373" y="6874"/>
                </a:lnTo>
                <a:lnTo>
                  <a:pt x="2128" y="6747"/>
                </a:lnTo>
                <a:lnTo>
                  <a:pt x="1895" y="6602"/>
                </a:lnTo>
                <a:lnTo>
                  <a:pt x="1677" y="6443"/>
                </a:lnTo>
                <a:lnTo>
                  <a:pt x="1475" y="6271"/>
                </a:lnTo>
                <a:lnTo>
                  <a:pt x="1289" y="6087"/>
                </a:lnTo>
                <a:lnTo>
                  <a:pt x="1122" y="5892"/>
                </a:lnTo>
                <a:lnTo>
                  <a:pt x="974" y="5689"/>
                </a:lnTo>
                <a:lnTo>
                  <a:pt x="846" y="5479"/>
                </a:lnTo>
                <a:lnTo>
                  <a:pt x="741" y="5262"/>
                </a:lnTo>
                <a:lnTo>
                  <a:pt x="658" y="5042"/>
                </a:lnTo>
                <a:lnTo>
                  <a:pt x="600" y="4819"/>
                </a:lnTo>
                <a:lnTo>
                  <a:pt x="567" y="4595"/>
                </a:lnTo>
                <a:lnTo>
                  <a:pt x="560" y="4372"/>
                </a:lnTo>
                <a:lnTo>
                  <a:pt x="582" y="4151"/>
                </a:lnTo>
                <a:lnTo>
                  <a:pt x="733" y="4222"/>
                </a:lnTo>
                <a:lnTo>
                  <a:pt x="885" y="4286"/>
                </a:lnTo>
                <a:lnTo>
                  <a:pt x="1040" y="4344"/>
                </a:lnTo>
                <a:lnTo>
                  <a:pt x="1199" y="4394"/>
                </a:lnTo>
                <a:lnTo>
                  <a:pt x="1361" y="4435"/>
                </a:lnTo>
                <a:lnTo>
                  <a:pt x="1528" y="4466"/>
                </a:lnTo>
                <a:lnTo>
                  <a:pt x="1700" y="4487"/>
                </a:lnTo>
                <a:lnTo>
                  <a:pt x="1878" y="4497"/>
                </a:lnTo>
                <a:lnTo>
                  <a:pt x="1717" y="4366"/>
                </a:lnTo>
                <a:lnTo>
                  <a:pt x="1566" y="4238"/>
                </a:lnTo>
                <a:lnTo>
                  <a:pt x="1426" y="4106"/>
                </a:lnTo>
                <a:lnTo>
                  <a:pt x="1361" y="4038"/>
                </a:lnTo>
                <a:lnTo>
                  <a:pt x="1298" y="3967"/>
                </a:lnTo>
                <a:lnTo>
                  <a:pt x="1149" y="3775"/>
                </a:lnTo>
                <a:lnTo>
                  <a:pt x="1017" y="3577"/>
                </a:lnTo>
                <a:lnTo>
                  <a:pt x="903" y="3371"/>
                </a:lnTo>
                <a:lnTo>
                  <a:pt x="806" y="3159"/>
                </a:lnTo>
                <a:lnTo>
                  <a:pt x="726" y="2940"/>
                </a:lnTo>
                <a:lnTo>
                  <a:pt x="664" y="2713"/>
                </a:lnTo>
                <a:lnTo>
                  <a:pt x="620" y="2479"/>
                </a:lnTo>
                <a:lnTo>
                  <a:pt x="594" y="2237"/>
                </a:lnTo>
                <a:lnTo>
                  <a:pt x="586" y="2032"/>
                </a:lnTo>
                <a:lnTo>
                  <a:pt x="592" y="1831"/>
                </a:lnTo>
                <a:lnTo>
                  <a:pt x="612" y="1633"/>
                </a:lnTo>
                <a:lnTo>
                  <a:pt x="645" y="1438"/>
                </a:lnTo>
                <a:lnTo>
                  <a:pt x="692" y="1245"/>
                </a:lnTo>
                <a:lnTo>
                  <a:pt x="752" y="1056"/>
                </a:lnTo>
                <a:lnTo>
                  <a:pt x="824" y="868"/>
                </a:lnTo>
                <a:lnTo>
                  <a:pt x="910" y="684"/>
                </a:lnTo>
                <a:lnTo>
                  <a:pt x="933" y="638"/>
                </a:lnTo>
                <a:lnTo>
                  <a:pt x="952" y="606"/>
                </a:lnTo>
                <a:lnTo>
                  <a:pt x="960" y="594"/>
                </a:lnTo>
                <a:lnTo>
                  <a:pt x="964" y="589"/>
                </a:lnTo>
                <a:lnTo>
                  <a:pt x="968" y="585"/>
                </a:lnTo>
                <a:lnTo>
                  <a:pt x="972" y="582"/>
                </a:lnTo>
                <a:lnTo>
                  <a:pt x="976" y="580"/>
                </a:lnTo>
                <a:lnTo>
                  <a:pt x="980" y="578"/>
                </a:lnTo>
                <a:lnTo>
                  <a:pt x="983" y="577"/>
                </a:lnTo>
                <a:lnTo>
                  <a:pt x="987" y="577"/>
                </a:lnTo>
                <a:lnTo>
                  <a:pt x="992" y="578"/>
                </a:lnTo>
                <a:lnTo>
                  <a:pt x="996" y="579"/>
                </a:lnTo>
                <a:lnTo>
                  <a:pt x="1000" y="581"/>
                </a:lnTo>
                <a:lnTo>
                  <a:pt x="1005" y="584"/>
                </a:lnTo>
                <a:lnTo>
                  <a:pt x="1010" y="587"/>
                </a:lnTo>
                <a:lnTo>
                  <a:pt x="1020" y="596"/>
                </a:lnTo>
                <a:lnTo>
                  <a:pt x="1045" y="623"/>
                </a:lnTo>
                <a:lnTo>
                  <a:pt x="1078" y="660"/>
                </a:lnTo>
                <a:lnTo>
                  <a:pt x="1596" y="1214"/>
                </a:lnTo>
                <a:lnTo>
                  <a:pt x="2145" y="1714"/>
                </a:lnTo>
                <a:lnTo>
                  <a:pt x="2726" y="2158"/>
                </a:lnTo>
                <a:lnTo>
                  <a:pt x="3338" y="2546"/>
                </a:lnTo>
                <a:lnTo>
                  <a:pt x="3983" y="2878"/>
                </a:lnTo>
                <a:lnTo>
                  <a:pt x="4660" y="3154"/>
                </a:lnTo>
                <a:lnTo>
                  <a:pt x="5369" y="3373"/>
                </a:lnTo>
                <a:lnTo>
                  <a:pt x="6112" y="3535"/>
                </a:lnTo>
                <a:lnTo>
                  <a:pt x="6324" y="3567"/>
                </a:lnTo>
                <a:lnTo>
                  <a:pt x="6537" y="3593"/>
                </a:lnTo>
                <a:lnTo>
                  <a:pt x="6964" y="3640"/>
                </a:lnTo>
                <a:lnTo>
                  <a:pt x="6997" y="3643"/>
                </a:lnTo>
                <a:lnTo>
                  <a:pt x="7011" y="3643"/>
                </a:lnTo>
                <a:lnTo>
                  <a:pt x="7024" y="3642"/>
                </a:lnTo>
                <a:lnTo>
                  <a:pt x="7035" y="3640"/>
                </a:lnTo>
                <a:lnTo>
                  <a:pt x="7045" y="3637"/>
                </a:lnTo>
                <a:lnTo>
                  <a:pt x="7049" y="3635"/>
                </a:lnTo>
                <a:lnTo>
                  <a:pt x="7053" y="3633"/>
                </a:lnTo>
                <a:lnTo>
                  <a:pt x="7057" y="3631"/>
                </a:lnTo>
                <a:lnTo>
                  <a:pt x="7060" y="3628"/>
                </a:lnTo>
                <a:lnTo>
                  <a:pt x="7063" y="3624"/>
                </a:lnTo>
                <a:lnTo>
                  <a:pt x="7066" y="3621"/>
                </a:lnTo>
                <a:lnTo>
                  <a:pt x="7068" y="3617"/>
                </a:lnTo>
                <a:lnTo>
                  <a:pt x="7070" y="3612"/>
                </a:lnTo>
                <a:lnTo>
                  <a:pt x="7073" y="3602"/>
                </a:lnTo>
                <a:lnTo>
                  <a:pt x="7074" y="3590"/>
                </a:lnTo>
                <a:lnTo>
                  <a:pt x="7075" y="3576"/>
                </a:lnTo>
                <a:lnTo>
                  <a:pt x="7074" y="3560"/>
                </a:lnTo>
                <a:lnTo>
                  <a:pt x="7069" y="3523"/>
                </a:lnTo>
                <a:lnTo>
                  <a:pt x="7031" y="3234"/>
                </a:lnTo>
                <a:lnTo>
                  <a:pt x="7020" y="2949"/>
                </a:lnTo>
                <a:lnTo>
                  <a:pt x="7035" y="2669"/>
                </a:lnTo>
                <a:lnTo>
                  <a:pt x="7074" y="2395"/>
                </a:lnTo>
                <a:lnTo>
                  <a:pt x="7137" y="2130"/>
                </a:lnTo>
                <a:lnTo>
                  <a:pt x="7224" y="1873"/>
                </a:lnTo>
                <a:lnTo>
                  <a:pt x="7333" y="1628"/>
                </a:lnTo>
                <a:lnTo>
                  <a:pt x="7463" y="1394"/>
                </a:lnTo>
                <a:lnTo>
                  <a:pt x="7614" y="1174"/>
                </a:lnTo>
                <a:lnTo>
                  <a:pt x="7785" y="968"/>
                </a:lnTo>
                <a:lnTo>
                  <a:pt x="7976" y="778"/>
                </a:lnTo>
                <a:lnTo>
                  <a:pt x="8184" y="606"/>
                </a:lnTo>
                <a:lnTo>
                  <a:pt x="8410" y="452"/>
                </a:lnTo>
                <a:lnTo>
                  <a:pt x="8653" y="319"/>
                </a:lnTo>
                <a:lnTo>
                  <a:pt x="8912" y="207"/>
                </a:lnTo>
                <a:lnTo>
                  <a:pt x="9186" y="118"/>
                </a:lnTo>
                <a:lnTo>
                  <a:pt x="9383" y="70"/>
                </a:lnTo>
                <a:lnTo>
                  <a:pt x="9577" y="34"/>
                </a:lnTo>
                <a:lnTo>
                  <a:pt x="9768" y="11"/>
                </a:lnTo>
                <a:lnTo>
                  <a:pt x="9956" y="0"/>
                </a:lnTo>
                <a:lnTo>
                  <a:pt x="10142" y="1"/>
                </a:lnTo>
                <a:lnTo>
                  <a:pt x="10325" y="15"/>
                </a:lnTo>
                <a:lnTo>
                  <a:pt x="10506" y="40"/>
                </a:lnTo>
                <a:lnTo>
                  <a:pt x="10683" y="78"/>
                </a:lnTo>
                <a:lnTo>
                  <a:pt x="10858" y="128"/>
                </a:lnTo>
                <a:lnTo>
                  <a:pt x="11029" y="189"/>
                </a:lnTo>
                <a:lnTo>
                  <a:pt x="11198" y="263"/>
                </a:lnTo>
                <a:lnTo>
                  <a:pt x="11364" y="348"/>
                </a:lnTo>
                <a:lnTo>
                  <a:pt x="11526" y="445"/>
                </a:lnTo>
                <a:lnTo>
                  <a:pt x="11686" y="554"/>
                </a:lnTo>
                <a:lnTo>
                  <a:pt x="11842" y="675"/>
                </a:lnTo>
                <a:lnTo>
                  <a:pt x="11995" y="807"/>
                </a:lnTo>
                <a:lnTo>
                  <a:pt x="12039" y="843"/>
                </a:lnTo>
                <a:lnTo>
                  <a:pt x="12060" y="858"/>
                </a:lnTo>
                <a:lnTo>
                  <a:pt x="12081" y="871"/>
                </a:lnTo>
                <a:lnTo>
                  <a:pt x="12102" y="883"/>
                </a:lnTo>
                <a:lnTo>
                  <a:pt x="12123" y="892"/>
                </a:lnTo>
                <a:lnTo>
                  <a:pt x="12144" y="900"/>
                </a:lnTo>
                <a:lnTo>
                  <a:pt x="12165" y="906"/>
                </a:lnTo>
                <a:lnTo>
                  <a:pt x="12187" y="911"/>
                </a:lnTo>
                <a:lnTo>
                  <a:pt x="12209" y="914"/>
                </a:lnTo>
                <a:lnTo>
                  <a:pt x="12231" y="915"/>
                </a:lnTo>
                <a:lnTo>
                  <a:pt x="12254" y="914"/>
                </a:lnTo>
                <a:lnTo>
                  <a:pt x="12278" y="912"/>
                </a:lnTo>
                <a:lnTo>
                  <a:pt x="12302" y="909"/>
                </a:lnTo>
                <a:lnTo>
                  <a:pt x="12354" y="898"/>
                </a:lnTo>
                <a:lnTo>
                  <a:pt x="12744" y="787"/>
                </a:lnTo>
                <a:lnTo>
                  <a:pt x="13126" y="654"/>
                </a:lnTo>
                <a:lnTo>
                  <a:pt x="13313" y="579"/>
                </a:lnTo>
                <a:lnTo>
                  <a:pt x="13498" y="497"/>
                </a:lnTo>
                <a:lnTo>
                  <a:pt x="13680" y="409"/>
                </a:lnTo>
                <a:lnTo>
                  <a:pt x="13860" y="315"/>
                </a:lnTo>
                <a:lnTo>
                  <a:pt x="13960" y="264"/>
                </a:lnTo>
                <a:lnTo>
                  <a:pt x="13961" y="263"/>
                </a:lnTo>
                <a:lnTo>
                  <a:pt x="13963" y="263"/>
                </a:lnTo>
                <a:lnTo>
                  <a:pt x="13964" y="263"/>
                </a:lnTo>
                <a:lnTo>
                  <a:pt x="13966" y="263"/>
                </a:lnTo>
                <a:lnTo>
                  <a:pt x="13968" y="263"/>
                </a:lnTo>
                <a:lnTo>
                  <a:pt x="13970" y="264"/>
                </a:lnTo>
                <a:lnTo>
                  <a:pt x="13975" y="265"/>
                </a:lnTo>
                <a:lnTo>
                  <a:pt x="13987" y="268"/>
                </a:lnTo>
                <a:lnTo>
                  <a:pt x="13995" y="269"/>
                </a:lnTo>
                <a:lnTo>
                  <a:pt x="14004" y="271"/>
                </a:lnTo>
                <a:lnTo>
                  <a:pt x="13912" y="511"/>
                </a:lnTo>
                <a:lnTo>
                  <a:pt x="13801" y="736"/>
                </a:lnTo>
                <a:lnTo>
                  <a:pt x="13673" y="949"/>
                </a:lnTo>
                <a:lnTo>
                  <a:pt x="13527" y="1148"/>
                </a:lnTo>
                <a:lnTo>
                  <a:pt x="13363" y="1336"/>
                </a:lnTo>
                <a:lnTo>
                  <a:pt x="13182" y="1513"/>
                </a:lnTo>
                <a:lnTo>
                  <a:pt x="12984" y="1679"/>
                </a:lnTo>
                <a:lnTo>
                  <a:pt x="12768" y="1836"/>
                </a:lnTo>
                <a:lnTo>
                  <a:pt x="12830" y="1838"/>
                </a:lnTo>
                <a:lnTo>
                  <a:pt x="12888" y="1836"/>
                </a:lnTo>
                <a:lnTo>
                  <a:pt x="12943" y="1831"/>
                </a:lnTo>
                <a:lnTo>
                  <a:pt x="12996" y="1823"/>
                </a:lnTo>
                <a:lnTo>
                  <a:pt x="13192" y="1783"/>
                </a:lnTo>
                <a:lnTo>
                  <a:pt x="13292" y="1763"/>
                </a:lnTo>
                <a:lnTo>
                  <a:pt x="13392" y="1741"/>
                </a:lnTo>
                <a:lnTo>
                  <a:pt x="13491" y="1717"/>
                </a:lnTo>
                <a:lnTo>
                  <a:pt x="13590" y="1691"/>
                </a:lnTo>
                <a:lnTo>
                  <a:pt x="13688" y="1662"/>
                </a:lnTo>
                <a:lnTo>
                  <a:pt x="13785" y="1631"/>
                </a:lnTo>
                <a:lnTo>
                  <a:pt x="13979" y="1569"/>
                </a:lnTo>
                <a:lnTo>
                  <a:pt x="14026" y="1553"/>
                </a:lnTo>
                <a:lnTo>
                  <a:pt x="14073" y="1535"/>
                </a:lnTo>
                <a:lnTo>
                  <a:pt x="14169" y="1497"/>
                </a:lnTo>
                <a:lnTo>
                  <a:pt x="14219" y="1479"/>
                </a:lnTo>
                <a:lnTo>
                  <a:pt x="14271" y="1462"/>
                </a:lnTo>
                <a:lnTo>
                  <a:pt x="14325" y="1448"/>
                </a:lnTo>
                <a:lnTo>
                  <a:pt x="14383" y="1437"/>
                </a:lnTo>
                <a:lnTo>
                  <a:pt x="14329" y="1522"/>
                </a:lnTo>
                <a:lnTo>
                  <a:pt x="14275" y="1604"/>
                </a:lnTo>
                <a:lnTo>
                  <a:pt x="14161" y="1758"/>
                </a:lnTo>
                <a:lnTo>
                  <a:pt x="14044" y="1901"/>
                </a:lnTo>
                <a:lnTo>
                  <a:pt x="13924" y="2039"/>
                </a:lnTo>
                <a:lnTo>
                  <a:pt x="13717" y="2261"/>
                </a:lnTo>
                <a:lnTo>
                  <a:pt x="13501" y="2473"/>
                </a:lnTo>
                <a:lnTo>
                  <a:pt x="13274" y="2673"/>
                </a:lnTo>
                <a:lnTo>
                  <a:pt x="13155" y="2767"/>
                </a:lnTo>
                <a:lnTo>
                  <a:pt x="13033" y="2858"/>
                </a:lnTo>
                <a:lnTo>
                  <a:pt x="13020" y="2867"/>
                </a:lnTo>
                <a:lnTo>
                  <a:pt x="13009" y="2877"/>
                </a:lnTo>
                <a:lnTo>
                  <a:pt x="12999" y="2887"/>
                </a:lnTo>
                <a:lnTo>
                  <a:pt x="12990" y="2898"/>
                </a:lnTo>
                <a:lnTo>
                  <a:pt x="12982" y="2908"/>
                </a:lnTo>
                <a:lnTo>
                  <a:pt x="12975" y="2919"/>
                </a:lnTo>
                <a:lnTo>
                  <a:pt x="12970" y="2930"/>
                </a:lnTo>
                <a:lnTo>
                  <a:pt x="12965" y="2941"/>
                </a:lnTo>
                <a:lnTo>
                  <a:pt x="12961" y="2953"/>
                </a:lnTo>
                <a:lnTo>
                  <a:pt x="12957" y="2965"/>
                </a:lnTo>
                <a:lnTo>
                  <a:pt x="12955" y="2977"/>
                </a:lnTo>
                <a:lnTo>
                  <a:pt x="12953" y="2990"/>
                </a:lnTo>
                <a:lnTo>
                  <a:pt x="12950" y="3017"/>
                </a:lnTo>
                <a:lnTo>
                  <a:pt x="12950" y="3047"/>
                </a:lnTo>
                <a:lnTo>
                  <a:pt x="12929" y="3850"/>
                </a:lnTo>
                <a:lnTo>
                  <a:pt x="12841" y="4631"/>
                </a:lnTo>
                <a:lnTo>
                  <a:pt x="12687" y="5388"/>
                </a:lnTo>
                <a:lnTo>
                  <a:pt x="12467" y="6122"/>
                </a:lnTo>
                <a:lnTo>
                  <a:pt x="12180" y="6832"/>
                </a:lnTo>
                <a:lnTo>
                  <a:pt x="11827" y="7519"/>
                </a:lnTo>
                <a:lnTo>
                  <a:pt x="11408" y="8182"/>
                </a:lnTo>
                <a:lnTo>
                  <a:pt x="10923" y="8821"/>
                </a:lnTo>
                <a:lnTo>
                  <a:pt x="10445" y="9353"/>
                </a:lnTo>
                <a:lnTo>
                  <a:pt x="9935" y="9832"/>
                </a:lnTo>
                <a:lnTo>
                  <a:pt x="9392" y="10258"/>
                </a:lnTo>
                <a:lnTo>
                  <a:pt x="8817" y="10630"/>
                </a:lnTo>
                <a:lnTo>
                  <a:pt x="8211" y="10949"/>
                </a:lnTo>
                <a:lnTo>
                  <a:pt x="7574" y="11215"/>
                </a:lnTo>
                <a:lnTo>
                  <a:pt x="6907" y="11427"/>
                </a:lnTo>
                <a:lnTo>
                  <a:pt x="6210" y="11586"/>
                </a:lnTo>
                <a:lnTo>
                  <a:pt x="5402" y="11701"/>
                </a:lnTo>
                <a:lnTo>
                  <a:pt x="4606" y="11745"/>
                </a:lnTo>
                <a:lnTo>
                  <a:pt x="3823" y="11718"/>
                </a:lnTo>
                <a:lnTo>
                  <a:pt x="3053" y="11619"/>
                </a:lnTo>
                <a:lnTo>
                  <a:pt x="2295" y="11447"/>
                </a:lnTo>
                <a:lnTo>
                  <a:pt x="1550" y="11201"/>
                </a:lnTo>
                <a:lnTo>
                  <a:pt x="819" y="10882"/>
                </a:lnTo>
                <a:lnTo>
                  <a:pt x="101" y="10488"/>
                </a:lnTo>
                <a:lnTo>
                  <a:pt x="83" y="10477"/>
                </a:lnTo>
                <a:lnTo>
                  <a:pt x="63" y="10462"/>
                </a:lnTo>
                <a:lnTo>
                  <a:pt x="0" y="10417"/>
                </a:lnTo>
              </a:path>
            </a:pathLst>
          </a:custGeom>
          <a:solidFill>
            <a:srgbClr val="123563"/>
          </a:solidFill>
          <a:ln>
            <a:noFill/>
          </a:ln>
          <a:effectLst/>
        </p:spPr>
        <p:txBody>
          <a:bodyPr wrap="none" anchor="ctr"/>
          <a:lstStyle/>
          <a:p>
            <a:endParaRPr lang="de-DE" sz="1800" dirty="0">
              <a:latin typeface="BISansOpti"/>
            </a:endParaRPr>
          </a:p>
        </p:txBody>
      </p:sp>
      <p:sp>
        <p:nvSpPr>
          <p:cNvPr id="15" name="Freeform 2"/>
          <p:cNvSpPr>
            <a:spLocks noChangeAspect="1" noChangeArrowheads="1"/>
          </p:cNvSpPr>
          <p:nvPr userDrawn="1"/>
        </p:nvSpPr>
        <p:spPr bwMode="auto">
          <a:xfrm>
            <a:off x="2201975" y="1708047"/>
            <a:ext cx="480000" cy="359193"/>
          </a:xfrm>
          <a:custGeom>
            <a:avLst/>
            <a:gdLst>
              <a:gd name="T0" fmla="*/ 14325 w 14438"/>
              <a:gd name="T1" fmla="*/ 8118 h 10806"/>
              <a:gd name="T2" fmla="*/ 14255 w 14438"/>
              <a:gd name="T3" fmla="*/ 8647 h 10806"/>
              <a:gd name="T4" fmla="*/ 14181 w 14438"/>
              <a:gd name="T5" fmla="*/ 8993 h 10806"/>
              <a:gd name="T6" fmla="*/ 14077 w 14438"/>
              <a:gd name="T7" fmla="*/ 9332 h 10806"/>
              <a:gd name="T8" fmla="*/ 13964 w 14438"/>
              <a:gd name="T9" fmla="*/ 9609 h 10806"/>
              <a:gd name="T10" fmla="*/ 13852 w 14438"/>
              <a:gd name="T11" fmla="*/ 9813 h 10806"/>
              <a:gd name="T12" fmla="*/ 13721 w 14438"/>
              <a:gd name="T13" fmla="*/ 9995 h 10806"/>
              <a:gd name="T14" fmla="*/ 13572 w 14438"/>
              <a:gd name="T15" fmla="*/ 10155 h 10806"/>
              <a:gd name="T16" fmla="*/ 13405 w 14438"/>
              <a:gd name="T17" fmla="*/ 10292 h 10806"/>
              <a:gd name="T18" fmla="*/ 13220 w 14438"/>
              <a:gd name="T19" fmla="*/ 10406 h 10806"/>
              <a:gd name="T20" fmla="*/ 13016 w 14438"/>
              <a:gd name="T21" fmla="*/ 10497 h 10806"/>
              <a:gd name="T22" fmla="*/ 12795 w 14438"/>
              <a:gd name="T23" fmla="*/ 10564 h 10806"/>
              <a:gd name="T24" fmla="*/ 12403 w 14438"/>
              <a:gd name="T25" fmla="*/ 10631 h 10806"/>
              <a:gd name="T26" fmla="*/ 11849 w 14438"/>
              <a:gd name="T27" fmla="*/ 10683 h 10806"/>
              <a:gd name="T28" fmla="*/ 7794 w 14438"/>
              <a:gd name="T29" fmla="*/ 10805 h 10806"/>
              <a:gd name="T30" fmla="*/ 2034 w 14438"/>
              <a:gd name="T31" fmla="*/ 10612 h 10806"/>
              <a:gd name="T32" fmla="*/ 1725 w 14438"/>
              <a:gd name="T33" fmla="*/ 10567 h 10806"/>
              <a:gd name="T34" fmla="*/ 1442 w 14438"/>
              <a:gd name="T35" fmla="*/ 10487 h 10806"/>
              <a:gd name="T36" fmla="*/ 1186 w 14438"/>
              <a:gd name="T37" fmla="*/ 10372 h 10806"/>
              <a:gd name="T38" fmla="*/ 957 w 14438"/>
              <a:gd name="T39" fmla="*/ 10222 h 10806"/>
              <a:gd name="T40" fmla="*/ 756 w 14438"/>
              <a:gd name="T41" fmla="*/ 10035 h 10806"/>
              <a:gd name="T42" fmla="*/ 584 w 14438"/>
              <a:gd name="T43" fmla="*/ 9811 h 10806"/>
              <a:gd name="T44" fmla="*/ 440 w 14438"/>
              <a:gd name="T45" fmla="*/ 9549 h 10806"/>
              <a:gd name="T46" fmla="*/ 327 w 14438"/>
              <a:gd name="T47" fmla="*/ 9249 h 10806"/>
              <a:gd name="T48" fmla="*/ 215 w 14438"/>
              <a:gd name="T49" fmla="*/ 8800 h 10806"/>
              <a:gd name="T50" fmla="*/ 142 w 14438"/>
              <a:gd name="T51" fmla="*/ 8345 h 10806"/>
              <a:gd name="T52" fmla="*/ 60 w 14438"/>
              <a:gd name="T53" fmla="*/ 7429 h 10806"/>
              <a:gd name="T54" fmla="*/ 0 w 14438"/>
              <a:gd name="T55" fmla="*/ 4261 h 10806"/>
              <a:gd name="T56" fmla="*/ 19 w 14438"/>
              <a:gd name="T57" fmla="*/ 4179 h 10806"/>
              <a:gd name="T58" fmla="*/ 22 w 14438"/>
              <a:gd name="T59" fmla="*/ 4152 h 10806"/>
              <a:gd name="T60" fmla="*/ 124 w 14438"/>
              <a:gd name="T61" fmla="*/ 2563 h 10806"/>
              <a:gd name="T62" fmla="*/ 181 w 14438"/>
              <a:gd name="T63" fmla="*/ 2160 h 10806"/>
              <a:gd name="T64" fmla="*/ 268 w 14438"/>
              <a:gd name="T65" fmla="*/ 1763 h 10806"/>
              <a:gd name="T66" fmla="*/ 394 w 14438"/>
              <a:gd name="T67" fmla="*/ 1373 h 10806"/>
              <a:gd name="T68" fmla="*/ 495 w 14438"/>
              <a:gd name="T69" fmla="*/ 1146 h 10806"/>
              <a:gd name="T70" fmla="*/ 616 w 14438"/>
              <a:gd name="T71" fmla="*/ 940 h 10806"/>
              <a:gd name="T72" fmla="*/ 756 w 14438"/>
              <a:gd name="T73" fmla="*/ 757 h 10806"/>
              <a:gd name="T74" fmla="*/ 916 w 14438"/>
              <a:gd name="T75" fmla="*/ 598 h 10806"/>
              <a:gd name="T76" fmla="*/ 1095 w 14438"/>
              <a:gd name="T77" fmla="*/ 464 h 10806"/>
              <a:gd name="T78" fmla="*/ 1295 w 14438"/>
              <a:gd name="T79" fmla="*/ 355 h 10806"/>
              <a:gd name="T80" fmla="*/ 1515 w 14438"/>
              <a:gd name="T81" fmla="*/ 272 h 10806"/>
              <a:gd name="T82" fmla="*/ 1755 w 14438"/>
              <a:gd name="T83" fmla="*/ 217 h 10806"/>
              <a:gd name="T84" fmla="*/ 2523 w 14438"/>
              <a:gd name="T85" fmla="*/ 126 h 10806"/>
              <a:gd name="T86" fmla="*/ 3297 w 14438"/>
              <a:gd name="T87" fmla="*/ 84 h 10806"/>
              <a:gd name="T88" fmla="*/ 10458 w 14438"/>
              <a:gd name="T89" fmla="*/ 57 h 10806"/>
              <a:gd name="T90" fmla="*/ 12041 w 14438"/>
              <a:gd name="T91" fmla="*/ 144 h 10806"/>
              <a:gd name="T92" fmla="*/ 12686 w 14438"/>
              <a:gd name="T93" fmla="*/ 211 h 10806"/>
              <a:gd name="T94" fmla="*/ 12911 w 14438"/>
              <a:gd name="T95" fmla="*/ 262 h 10806"/>
              <a:gd name="T96" fmla="*/ 13122 w 14438"/>
              <a:gd name="T97" fmla="*/ 339 h 10806"/>
              <a:gd name="T98" fmla="*/ 13316 w 14438"/>
              <a:gd name="T99" fmla="*/ 440 h 10806"/>
              <a:gd name="T100" fmla="*/ 13493 w 14438"/>
              <a:gd name="T101" fmla="*/ 567 h 10806"/>
              <a:gd name="T102" fmla="*/ 13651 w 14438"/>
              <a:gd name="T103" fmla="*/ 718 h 10806"/>
              <a:gd name="T104" fmla="*/ 13790 w 14438"/>
              <a:gd name="T105" fmla="*/ 894 h 10806"/>
              <a:gd name="T106" fmla="*/ 13909 w 14438"/>
              <a:gd name="T107" fmla="*/ 1094 h 10806"/>
              <a:gd name="T108" fmla="*/ 14062 w 14438"/>
              <a:gd name="T109" fmla="*/ 1453 h 10806"/>
              <a:gd name="T110" fmla="*/ 14150 w 14438"/>
              <a:gd name="T111" fmla="*/ 1710 h 10806"/>
              <a:gd name="T112" fmla="*/ 14218 w 14438"/>
              <a:gd name="T113" fmla="*/ 1973 h 10806"/>
              <a:gd name="T114" fmla="*/ 14260 w 14438"/>
              <a:gd name="T115" fmla="*/ 2237 h 10806"/>
              <a:gd name="T116" fmla="*/ 14437 w 14438"/>
              <a:gd name="T117" fmla="*/ 5189 h 10806"/>
              <a:gd name="T118" fmla="*/ 5417 w 14438"/>
              <a:gd name="T119" fmla="*/ 8122 h 10806"/>
              <a:gd name="T120" fmla="*/ 5417 w 14438"/>
              <a:gd name="T121" fmla="*/ 2686 h 108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14438" h="10806">
                <a:moveTo>
                  <a:pt x="14437" y="5994"/>
                </a:moveTo>
                <a:lnTo>
                  <a:pt x="14325" y="8118"/>
                </a:lnTo>
                <a:lnTo>
                  <a:pt x="14284" y="8472"/>
                </a:lnTo>
                <a:lnTo>
                  <a:pt x="14255" y="8647"/>
                </a:lnTo>
                <a:lnTo>
                  <a:pt x="14222" y="8821"/>
                </a:lnTo>
                <a:lnTo>
                  <a:pt x="14181" y="8993"/>
                </a:lnTo>
                <a:lnTo>
                  <a:pt x="14133" y="9164"/>
                </a:lnTo>
                <a:lnTo>
                  <a:pt x="14077" y="9332"/>
                </a:lnTo>
                <a:lnTo>
                  <a:pt x="14013" y="9499"/>
                </a:lnTo>
                <a:lnTo>
                  <a:pt x="13964" y="9609"/>
                </a:lnTo>
                <a:lnTo>
                  <a:pt x="13910" y="9714"/>
                </a:lnTo>
                <a:lnTo>
                  <a:pt x="13852" y="9813"/>
                </a:lnTo>
                <a:lnTo>
                  <a:pt x="13789" y="9907"/>
                </a:lnTo>
                <a:lnTo>
                  <a:pt x="13721" y="9995"/>
                </a:lnTo>
                <a:lnTo>
                  <a:pt x="13649" y="10078"/>
                </a:lnTo>
                <a:lnTo>
                  <a:pt x="13572" y="10155"/>
                </a:lnTo>
                <a:lnTo>
                  <a:pt x="13491" y="10226"/>
                </a:lnTo>
                <a:lnTo>
                  <a:pt x="13405" y="10292"/>
                </a:lnTo>
                <a:lnTo>
                  <a:pt x="13315" y="10352"/>
                </a:lnTo>
                <a:lnTo>
                  <a:pt x="13220" y="10406"/>
                </a:lnTo>
                <a:lnTo>
                  <a:pt x="13120" y="10454"/>
                </a:lnTo>
                <a:lnTo>
                  <a:pt x="13016" y="10497"/>
                </a:lnTo>
                <a:lnTo>
                  <a:pt x="12907" y="10533"/>
                </a:lnTo>
                <a:lnTo>
                  <a:pt x="12795" y="10564"/>
                </a:lnTo>
                <a:lnTo>
                  <a:pt x="12677" y="10588"/>
                </a:lnTo>
                <a:lnTo>
                  <a:pt x="12403" y="10631"/>
                </a:lnTo>
                <a:lnTo>
                  <a:pt x="12127" y="10662"/>
                </a:lnTo>
                <a:lnTo>
                  <a:pt x="11849" y="10683"/>
                </a:lnTo>
                <a:lnTo>
                  <a:pt x="11571" y="10696"/>
                </a:lnTo>
                <a:lnTo>
                  <a:pt x="7794" y="10805"/>
                </a:lnTo>
                <a:lnTo>
                  <a:pt x="4552" y="10756"/>
                </a:lnTo>
                <a:lnTo>
                  <a:pt x="2034" y="10612"/>
                </a:lnTo>
                <a:lnTo>
                  <a:pt x="1876" y="10594"/>
                </a:lnTo>
                <a:lnTo>
                  <a:pt x="1725" y="10567"/>
                </a:lnTo>
                <a:lnTo>
                  <a:pt x="1581" y="10531"/>
                </a:lnTo>
                <a:lnTo>
                  <a:pt x="1442" y="10487"/>
                </a:lnTo>
                <a:lnTo>
                  <a:pt x="1311" y="10434"/>
                </a:lnTo>
                <a:lnTo>
                  <a:pt x="1186" y="10372"/>
                </a:lnTo>
                <a:lnTo>
                  <a:pt x="1068" y="10302"/>
                </a:lnTo>
                <a:lnTo>
                  <a:pt x="957" y="10222"/>
                </a:lnTo>
                <a:lnTo>
                  <a:pt x="853" y="10133"/>
                </a:lnTo>
                <a:lnTo>
                  <a:pt x="756" y="10035"/>
                </a:lnTo>
                <a:lnTo>
                  <a:pt x="666" y="9927"/>
                </a:lnTo>
                <a:lnTo>
                  <a:pt x="584" y="9811"/>
                </a:lnTo>
                <a:lnTo>
                  <a:pt x="508" y="9685"/>
                </a:lnTo>
                <a:lnTo>
                  <a:pt x="440" y="9549"/>
                </a:lnTo>
                <a:lnTo>
                  <a:pt x="380" y="9404"/>
                </a:lnTo>
                <a:lnTo>
                  <a:pt x="327" y="9249"/>
                </a:lnTo>
                <a:lnTo>
                  <a:pt x="265" y="9025"/>
                </a:lnTo>
                <a:lnTo>
                  <a:pt x="215" y="8800"/>
                </a:lnTo>
                <a:lnTo>
                  <a:pt x="174" y="8573"/>
                </a:lnTo>
                <a:lnTo>
                  <a:pt x="142" y="8345"/>
                </a:lnTo>
                <a:lnTo>
                  <a:pt x="96" y="7888"/>
                </a:lnTo>
                <a:lnTo>
                  <a:pt x="60" y="7429"/>
                </a:lnTo>
                <a:lnTo>
                  <a:pt x="0" y="6548"/>
                </a:lnTo>
                <a:lnTo>
                  <a:pt x="0" y="4261"/>
                </a:lnTo>
                <a:lnTo>
                  <a:pt x="13" y="4207"/>
                </a:lnTo>
                <a:lnTo>
                  <a:pt x="19" y="4179"/>
                </a:lnTo>
                <a:lnTo>
                  <a:pt x="21" y="4166"/>
                </a:lnTo>
                <a:lnTo>
                  <a:pt x="22" y="4152"/>
                </a:lnTo>
                <a:lnTo>
                  <a:pt x="89" y="2970"/>
                </a:lnTo>
                <a:lnTo>
                  <a:pt x="124" y="2563"/>
                </a:lnTo>
                <a:lnTo>
                  <a:pt x="150" y="2361"/>
                </a:lnTo>
                <a:lnTo>
                  <a:pt x="181" y="2160"/>
                </a:lnTo>
                <a:lnTo>
                  <a:pt x="220" y="1960"/>
                </a:lnTo>
                <a:lnTo>
                  <a:pt x="268" y="1763"/>
                </a:lnTo>
                <a:lnTo>
                  <a:pt x="326" y="1567"/>
                </a:lnTo>
                <a:lnTo>
                  <a:pt x="394" y="1373"/>
                </a:lnTo>
                <a:lnTo>
                  <a:pt x="442" y="1257"/>
                </a:lnTo>
                <a:lnTo>
                  <a:pt x="495" y="1146"/>
                </a:lnTo>
                <a:lnTo>
                  <a:pt x="553" y="1040"/>
                </a:lnTo>
                <a:lnTo>
                  <a:pt x="616" y="940"/>
                </a:lnTo>
                <a:lnTo>
                  <a:pt x="684" y="846"/>
                </a:lnTo>
                <a:lnTo>
                  <a:pt x="756" y="757"/>
                </a:lnTo>
                <a:lnTo>
                  <a:pt x="833" y="675"/>
                </a:lnTo>
                <a:lnTo>
                  <a:pt x="916" y="598"/>
                </a:lnTo>
                <a:lnTo>
                  <a:pt x="1003" y="528"/>
                </a:lnTo>
                <a:lnTo>
                  <a:pt x="1095" y="464"/>
                </a:lnTo>
                <a:lnTo>
                  <a:pt x="1193" y="406"/>
                </a:lnTo>
                <a:lnTo>
                  <a:pt x="1295" y="355"/>
                </a:lnTo>
                <a:lnTo>
                  <a:pt x="1402" y="310"/>
                </a:lnTo>
                <a:lnTo>
                  <a:pt x="1515" y="272"/>
                </a:lnTo>
                <a:lnTo>
                  <a:pt x="1632" y="241"/>
                </a:lnTo>
                <a:lnTo>
                  <a:pt x="1755" y="217"/>
                </a:lnTo>
                <a:lnTo>
                  <a:pt x="2137" y="163"/>
                </a:lnTo>
                <a:lnTo>
                  <a:pt x="2523" y="126"/>
                </a:lnTo>
                <a:lnTo>
                  <a:pt x="2910" y="101"/>
                </a:lnTo>
                <a:lnTo>
                  <a:pt x="3297" y="84"/>
                </a:lnTo>
                <a:lnTo>
                  <a:pt x="6666" y="0"/>
                </a:lnTo>
                <a:lnTo>
                  <a:pt x="10458" y="57"/>
                </a:lnTo>
                <a:lnTo>
                  <a:pt x="11514" y="105"/>
                </a:lnTo>
                <a:lnTo>
                  <a:pt x="12041" y="144"/>
                </a:lnTo>
                <a:lnTo>
                  <a:pt x="12567" y="195"/>
                </a:lnTo>
                <a:lnTo>
                  <a:pt x="12686" y="211"/>
                </a:lnTo>
                <a:lnTo>
                  <a:pt x="12800" y="233"/>
                </a:lnTo>
                <a:lnTo>
                  <a:pt x="12911" y="262"/>
                </a:lnTo>
                <a:lnTo>
                  <a:pt x="13019" y="297"/>
                </a:lnTo>
                <a:lnTo>
                  <a:pt x="13122" y="339"/>
                </a:lnTo>
                <a:lnTo>
                  <a:pt x="13221" y="386"/>
                </a:lnTo>
                <a:lnTo>
                  <a:pt x="13316" y="440"/>
                </a:lnTo>
                <a:lnTo>
                  <a:pt x="13406" y="500"/>
                </a:lnTo>
                <a:lnTo>
                  <a:pt x="13493" y="567"/>
                </a:lnTo>
                <a:lnTo>
                  <a:pt x="13574" y="639"/>
                </a:lnTo>
                <a:lnTo>
                  <a:pt x="13651" y="718"/>
                </a:lnTo>
                <a:lnTo>
                  <a:pt x="13723" y="803"/>
                </a:lnTo>
                <a:lnTo>
                  <a:pt x="13790" y="894"/>
                </a:lnTo>
                <a:lnTo>
                  <a:pt x="13852" y="991"/>
                </a:lnTo>
                <a:lnTo>
                  <a:pt x="13909" y="1094"/>
                </a:lnTo>
                <a:lnTo>
                  <a:pt x="13960" y="1203"/>
                </a:lnTo>
                <a:lnTo>
                  <a:pt x="14062" y="1453"/>
                </a:lnTo>
                <a:lnTo>
                  <a:pt x="14108" y="1581"/>
                </a:lnTo>
                <a:lnTo>
                  <a:pt x="14150" y="1710"/>
                </a:lnTo>
                <a:lnTo>
                  <a:pt x="14187" y="1841"/>
                </a:lnTo>
                <a:lnTo>
                  <a:pt x="14218" y="1973"/>
                </a:lnTo>
                <a:lnTo>
                  <a:pt x="14242" y="2105"/>
                </a:lnTo>
                <a:lnTo>
                  <a:pt x="14260" y="2237"/>
                </a:lnTo>
                <a:lnTo>
                  <a:pt x="14427" y="4739"/>
                </a:lnTo>
                <a:lnTo>
                  <a:pt x="14437" y="5189"/>
                </a:lnTo>
                <a:lnTo>
                  <a:pt x="14437" y="5994"/>
                </a:lnTo>
                <a:close/>
                <a:moveTo>
                  <a:pt x="5417" y="8122"/>
                </a:moveTo>
                <a:lnTo>
                  <a:pt x="9947" y="5404"/>
                </a:lnTo>
                <a:lnTo>
                  <a:pt x="5417" y="2686"/>
                </a:lnTo>
                <a:lnTo>
                  <a:pt x="5417" y="8122"/>
                </a:lnTo>
                <a:close/>
              </a:path>
            </a:pathLst>
          </a:custGeom>
          <a:solidFill>
            <a:srgbClr val="123563"/>
          </a:solidFill>
          <a:ln>
            <a:noFill/>
          </a:ln>
          <a:effectLst/>
        </p:spPr>
        <p:txBody>
          <a:bodyPr wrap="none" anchor="ctr"/>
          <a:lstStyle/>
          <a:p>
            <a:endParaRPr lang="de-DE" sz="1800" dirty="0">
              <a:latin typeface="BISansOpti"/>
            </a:endParaRPr>
          </a:p>
        </p:txBody>
      </p:sp>
      <p:sp>
        <p:nvSpPr>
          <p:cNvPr id="16" name="Freeform 2"/>
          <p:cNvSpPr>
            <a:spLocks noChangeAspect="1" noChangeArrowheads="1"/>
          </p:cNvSpPr>
          <p:nvPr userDrawn="1"/>
        </p:nvSpPr>
        <p:spPr bwMode="auto">
          <a:xfrm>
            <a:off x="3083277" y="1653427"/>
            <a:ext cx="383999" cy="495188"/>
          </a:xfrm>
          <a:custGeom>
            <a:avLst/>
            <a:gdLst>
              <a:gd name="T0" fmla="*/ 3118 w 9837"/>
              <a:gd name="T1" fmla="*/ 11425 h 12686"/>
              <a:gd name="T2" fmla="*/ 2294 w 9837"/>
              <a:gd name="T3" fmla="*/ 12646 h 12686"/>
              <a:gd name="T4" fmla="*/ 2234 w 9837"/>
              <a:gd name="T5" fmla="*/ 12679 h 12686"/>
              <a:gd name="T6" fmla="*/ 2189 w 9837"/>
              <a:gd name="T7" fmla="*/ 12684 h 12686"/>
              <a:gd name="T8" fmla="*/ 2154 w 9837"/>
              <a:gd name="T9" fmla="*/ 12659 h 12686"/>
              <a:gd name="T10" fmla="*/ 2115 w 9837"/>
              <a:gd name="T11" fmla="*/ 12581 h 12686"/>
              <a:gd name="T12" fmla="*/ 2014 w 9837"/>
              <a:gd name="T13" fmla="*/ 11008 h 12686"/>
              <a:gd name="T14" fmla="*/ 3053 w 9837"/>
              <a:gd name="T15" fmla="*/ 5966 h 12686"/>
              <a:gd name="T16" fmla="*/ 3042 w 9837"/>
              <a:gd name="T17" fmla="*/ 5815 h 12686"/>
              <a:gd name="T18" fmla="*/ 2842 w 9837"/>
              <a:gd name="T19" fmla="*/ 4798 h 12686"/>
              <a:gd name="T20" fmla="*/ 3098 w 9837"/>
              <a:gd name="T21" fmla="*/ 3624 h 12686"/>
              <a:gd name="T22" fmla="*/ 3521 w 9837"/>
              <a:gd name="T23" fmla="*/ 3104 h 12686"/>
              <a:gd name="T24" fmla="*/ 4132 w 9837"/>
              <a:gd name="T25" fmla="*/ 2846 h 12686"/>
              <a:gd name="T26" fmla="*/ 4671 w 9837"/>
              <a:gd name="T27" fmla="*/ 2922 h 12686"/>
              <a:gd name="T28" fmla="*/ 5025 w 9837"/>
              <a:gd name="T29" fmla="*/ 3211 h 12686"/>
              <a:gd name="T30" fmla="*/ 5210 w 9837"/>
              <a:gd name="T31" fmla="*/ 3670 h 12686"/>
              <a:gd name="T32" fmla="*/ 5155 w 9837"/>
              <a:gd name="T33" fmla="*/ 4529 h 12686"/>
              <a:gd name="T34" fmla="*/ 4590 w 9837"/>
              <a:gd name="T35" fmla="*/ 7081 h 12686"/>
              <a:gd name="T36" fmla="*/ 5138 w 9837"/>
              <a:gd name="T37" fmla="*/ 7774 h 12686"/>
              <a:gd name="T38" fmla="*/ 6107 w 9837"/>
              <a:gd name="T39" fmla="*/ 7877 h 12686"/>
              <a:gd name="T40" fmla="*/ 6907 w 9837"/>
              <a:gd name="T41" fmla="*/ 7429 h 12686"/>
              <a:gd name="T42" fmla="*/ 7658 w 9837"/>
              <a:gd name="T43" fmla="*/ 6268 h 12686"/>
              <a:gd name="T44" fmla="*/ 8036 w 9837"/>
              <a:gd name="T45" fmla="*/ 4561 h 12686"/>
              <a:gd name="T46" fmla="*/ 7946 w 9837"/>
              <a:gd name="T47" fmla="*/ 3244 h 12686"/>
              <a:gd name="T48" fmla="*/ 7471 w 9837"/>
              <a:gd name="T49" fmla="*/ 2262 h 12686"/>
              <a:gd name="T50" fmla="*/ 6646 w 9837"/>
              <a:gd name="T51" fmla="*/ 1607 h 12686"/>
              <a:gd name="T52" fmla="*/ 5184 w 9837"/>
              <a:gd name="T53" fmla="*/ 1253 h 12686"/>
              <a:gd name="T54" fmla="*/ 3867 w 9837"/>
              <a:gd name="T55" fmla="*/ 1402 h 12686"/>
              <a:gd name="T56" fmla="*/ 2664 w 9837"/>
              <a:gd name="T57" fmla="*/ 2075 h 12686"/>
              <a:gd name="T58" fmla="*/ 1782 w 9837"/>
              <a:gd name="T59" fmla="*/ 3159 h 12686"/>
              <a:gd name="T60" fmla="*/ 1441 w 9837"/>
              <a:gd name="T61" fmla="*/ 4444 h 12686"/>
              <a:gd name="T62" fmla="*/ 1565 w 9837"/>
              <a:gd name="T63" fmla="*/ 5601 h 12686"/>
              <a:gd name="T64" fmla="*/ 1877 w 9837"/>
              <a:gd name="T65" fmla="*/ 6126 h 12686"/>
              <a:gd name="T66" fmla="*/ 2001 w 9837"/>
              <a:gd name="T67" fmla="*/ 6319 h 12686"/>
              <a:gd name="T68" fmla="*/ 2029 w 9837"/>
              <a:gd name="T69" fmla="*/ 6526 h 12686"/>
              <a:gd name="T70" fmla="*/ 1959 w 9837"/>
              <a:gd name="T71" fmla="*/ 6794 h 12686"/>
              <a:gd name="T72" fmla="*/ 1816 w 9837"/>
              <a:gd name="T73" fmla="*/ 7275 h 12686"/>
              <a:gd name="T74" fmla="*/ 1678 w 9837"/>
              <a:gd name="T75" fmla="*/ 7368 h 12686"/>
              <a:gd name="T76" fmla="*/ 1479 w 9837"/>
              <a:gd name="T77" fmla="*/ 7335 h 12686"/>
              <a:gd name="T78" fmla="*/ 785 w 9837"/>
              <a:gd name="T79" fmla="*/ 6867 h 12686"/>
              <a:gd name="T80" fmla="*/ 124 w 9837"/>
              <a:gd name="T81" fmla="*/ 5565 h 12686"/>
              <a:gd name="T82" fmla="*/ 8 w 9837"/>
              <a:gd name="T83" fmla="*/ 4355 h 12686"/>
              <a:gd name="T84" fmla="*/ 473 w 9837"/>
              <a:gd name="T85" fmla="*/ 2695 h 12686"/>
              <a:gd name="T86" fmla="*/ 1407 w 9837"/>
              <a:gd name="T87" fmla="*/ 1407 h 12686"/>
              <a:gd name="T88" fmla="*/ 2703 w 9837"/>
              <a:gd name="T89" fmla="*/ 537 h 12686"/>
              <a:gd name="T90" fmla="*/ 5376 w 9837"/>
              <a:gd name="T91" fmla="*/ 0 h 12686"/>
              <a:gd name="T92" fmla="*/ 7729 w 9837"/>
              <a:gd name="T93" fmla="*/ 664 h 12686"/>
              <a:gd name="T94" fmla="*/ 8900 w 9837"/>
              <a:gd name="T95" fmla="*/ 1632 h 12686"/>
              <a:gd name="T96" fmla="*/ 9626 w 9837"/>
              <a:gd name="T97" fmla="*/ 2968 h 12686"/>
              <a:gd name="T98" fmla="*/ 9835 w 9837"/>
              <a:gd name="T99" fmla="*/ 4374 h 12686"/>
              <a:gd name="T100" fmla="*/ 9529 w 9837"/>
              <a:gd name="T101" fmla="*/ 6232 h 12686"/>
              <a:gd name="T102" fmla="*/ 8493 w 9837"/>
              <a:gd name="T103" fmla="*/ 8045 h 12686"/>
              <a:gd name="T104" fmla="*/ 7525 w 9837"/>
              <a:gd name="T105" fmla="*/ 8795 h 12686"/>
              <a:gd name="T106" fmla="*/ 6357 w 9837"/>
              <a:gd name="T107" fmla="*/ 9150 h 12686"/>
              <a:gd name="T108" fmla="*/ 5273 w 9837"/>
              <a:gd name="T109" fmla="*/ 9099 h 12686"/>
              <a:gd name="T110" fmla="*/ 4591 w 9837"/>
              <a:gd name="T111" fmla="*/ 8776 h 126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9837" h="12686">
                <a:moveTo>
                  <a:pt x="4115" y="8296"/>
                </a:moveTo>
                <a:lnTo>
                  <a:pt x="3659" y="10080"/>
                </a:lnTo>
                <a:lnTo>
                  <a:pt x="3556" y="10434"/>
                </a:lnTo>
                <a:lnTo>
                  <a:pt x="3431" y="10775"/>
                </a:lnTo>
                <a:lnTo>
                  <a:pt x="3284" y="11105"/>
                </a:lnTo>
                <a:lnTo>
                  <a:pt x="3118" y="11425"/>
                </a:lnTo>
                <a:lnTo>
                  <a:pt x="2936" y="11736"/>
                </a:lnTo>
                <a:lnTo>
                  <a:pt x="2740" y="12039"/>
                </a:lnTo>
                <a:lnTo>
                  <a:pt x="2313" y="12628"/>
                </a:lnTo>
                <a:lnTo>
                  <a:pt x="2307" y="12634"/>
                </a:lnTo>
                <a:lnTo>
                  <a:pt x="2301" y="12640"/>
                </a:lnTo>
                <a:lnTo>
                  <a:pt x="2294" y="12646"/>
                </a:lnTo>
                <a:lnTo>
                  <a:pt x="2286" y="12652"/>
                </a:lnTo>
                <a:lnTo>
                  <a:pt x="2278" y="12658"/>
                </a:lnTo>
                <a:lnTo>
                  <a:pt x="2270" y="12663"/>
                </a:lnTo>
                <a:lnTo>
                  <a:pt x="2252" y="12672"/>
                </a:lnTo>
                <a:lnTo>
                  <a:pt x="2243" y="12676"/>
                </a:lnTo>
                <a:lnTo>
                  <a:pt x="2234" y="12679"/>
                </a:lnTo>
                <a:lnTo>
                  <a:pt x="2225" y="12682"/>
                </a:lnTo>
                <a:lnTo>
                  <a:pt x="2216" y="12684"/>
                </a:lnTo>
                <a:lnTo>
                  <a:pt x="2207" y="12685"/>
                </a:lnTo>
                <a:lnTo>
                  <a:pt x="2200" y="12685"/>
                </a:lnTo>
                <a:lnTo>
                  <a:pt x="2192" y="12685"/>
                </a:lnTo>
                <a:lnTo>
                  <a:pt x="2189" y="12684"/>
                </a:lnTo>
                <a:lnTo>
                  <a:pt x="2186" y="12683"/>
                </a:lnTo>
                <a:lnTo>
                  <a:pt x="2179" y="12680"/>
                </a:lnTo>
                <a:lnTo>
                  <a:pt x="2173" y="12676"/>
                </a:lnTo>
                <a:lnTo>
                  <a:pt x="2166" y="12671"/>
                </a:lnTo>
                <a:lnTo>
                  <a:pt x="2160" y="12666"/>
                </a:lnTo>
                <a:lnTo>
                  <a:pt x="2154" y="12659"/>
                </a:lnTo>
                <a:lnTo>
                  <a:pt x="2148" y="12652"/>
                </a:lnTo>
                <a:lnTo>
                  <a:pt x="2143" y="12644"/>
                </a:lnTo>
                <a:lnTo>
                  <a:pt x="2138" y="12636"/>
                </a:lnTo>
                <a:lnTo>
                  <a:pt x="2129" y="12618"/>
                </a:lnTo>
                <a:lnTo>
                  <a:pt x="2121" y="12600"/>
                </a:lnTo>
                <a:lnTo>
                  <a:pt x="2115" y="12581"/>
                </a:lnTo>
                <a:lnTo>
                  <a:pt x="2113" y="12573"/>
                </a:lnTo>
                <a:lnTo>
                  <a:pt x="2112" y="12564"/>
                </a:lnTo>
                <a:lnTo>
                  <a:pt x="2063" y="12174"/>
                </a:lnTo>
                <a:lnTo>
                  <a:pt x="2030" y="11785"/>
                </a:lnTo>
                <a:lnTo>
                  <a:pt x="2013" y="11396"/>
                </a:lnTo>
                <a:lnTo>
                  <a:pt x="2014" y="11008"/>
                </a:lnTo>
                <a:lnTo>
                  <a:pt x="2034" y="10620"/>
                </a:lnTo>
                <a:lnTo>
                  <a:pt x="2075" y="10233"/>
                </a:lnTo>
                <a:lnTo>
                  <a:pt x="2139" y="9846"/>
                </a:lnTo>
                <a:lnTo>
                  <a:pt x="2226" y="9459"/>
                </a:lnTo>
                <a:lnTo>
                  <a:pt x="3051" y="5979"/>
                </a:lnTo>
                <a:lnTo>
                  <a:pt x="3053" y="5966"/>
                </a:lnTo>
                <a:lnTo>
                  <a:pt x="3055" y="5953"/>
                </a:lnTo>
                <a:lnTo>
                  <a:pt x="3057" y="5926"/>
                </a:lnTo>
                <a:lnTo>
                  <a:pt x="3056" y="5898"/>
                </a:lnTo>
                <a:lnTo>
                  <a:pt x="3053" y="5871"/>
                </a:lnTo>
                <a:lnTo>
                  <a:pt x="3049" y="5843"/>
                </a:lnTo>
                <a:lnTo>
                  <a:pt x="3042" y="5815"/>
                </a:lnTo>
                <a:lnTo>
                  <a:pt x="3035" y="5788"/>
                </a:lnTo>
                <a:lnTo>
                  <a:pt x="3027" y="5763"/>
                </a:lnTo>
                <a:lnTo>
                  <a:pt x="2952" y="5522"/>
                </a:lnTo>
                <a:lnTo>
                  <a:pt x="2895" y="5281"/>
                </a:lnTo>
                <a:lnTo>
                  <a:pt x="2858" y="5040"/>
                </a:lnTo>
                <a:lnTo>
                  <a:pt x="2842" y="4798"/>
                </a:lnTo>
                <a:lnTo>
                  <a:pt x="2848" y="4557"/>
                </a:lnTo>
                <a:lnTo>
                  <a:pt x="2876" y="4315"/>
                </a:lnTo>
                <a:lnTo>
                  <a:pt x="2929" y="4073"/>
                </a:lnTo>
                <a:lnTo>
                  <a:pt x="3007" y="3832"/>
                </a:lnTo>
                <a:lnTo>
                  <a:pt x="3050" y="3726"/>
                </a:lnTo>
                <a:lnTo>
                  <a:pt x="3098" y="3624"/>
                </a:lnTo>
                <a:lnTo>
                  <a:pt x="3153" y="3526"/>
                </a:lnTo>
                <a:lnTo>
                  <a:pt x="3213" y="3432"/>
                </a:lnTo>
                <a:lnTo>
                  <a:pt x="3280" y="3343"/>
                </a:lnTo>
                <a:lnTo>
                  <a:pt x="3354" y="3258"/>
                </a:lnTo>
                <a:lnTo>
                  <a:pt x="3434" y="3178"/>
                </a:lnTo>
                <a:lnTo>
                  <a:pt x="3521" y="3104"/>
                </a:lnTo>
                <a:lnTo>
                  <a:pt x="3614" y="3035"/>
                </a:lnTo>
                <a:lnTo>
                  <a:pt x="3711" y="2977"/>
                </a:lnTo>
                <a:lnTo>
                  <a:pt x="3812" y="2929"/>
                </a:lnTo>
                <a:lnTo>
                  <a:pt x="3915" y="2891"/>
                </a:lnTo>
                <a:lnTo>
                  <a:pt x="4022" y="2863"/>
                </a:lnTo>
                <a:lnTo>
                  <a:pt x="4132" y="2846"/>
                </a:lnTo>
                <a:lnTo>
                  <a:pt x="4245" y="2840"/>
                </a:lnTo>
                <a:lnTo>
                  <a:pt x="4362" y="2844"/>
                </a:lnTo>
                <a:lnTo>
                  <a:pt x="4443" y="2854"/>
                </a:lnTo>
                <a:lnTo>
                  <a:pt x="4522" y="2870"/>
                </a:lnTo>
                <a:lnTo>
                  <a:pt x="4598" y="2893"/>
                </a:lnTo>
                <a:lnTo>
                  <a:pt x="4671" y="2922"/>
                </a:lnTo>
                <a:lnTo>
                  <a:pt x="4739" y="2956"/>
                </a:lnTo>
                <a:lnTo>
                  <a:pt x="4805" y="2997"/>
                </a:lnTo>
                <a:lnTo>
                  <a:pt x="4866" y="3043"/>
                </a:lnTo>
                <a:lnTo>
                  <a:pt x="4923" y="3094"/>
                </a:lnTo>
                <a:lnTo>
                  <a:pt x="4976" y="3150"/>
                </a:lnTo>
                <a:lnTo>
                  <a:pt x="5025" y="3211"/>
                </a:lnTo>
                <a:lnTo>
                  <a:pt x="5068" y="3277"/>
                </a:lnTo>
                <a:lnTo>
                  <a:pt x="5107" y="3348"/>
                </a:lnTo>
                <a:lnTo>
                  <a:pt x="5141" y="3422"/>
                </a:lnTo>
                <a:lnTo>
                  <a:pt x="5170" y="3501"/>
                </a:lnTo>
                <a:lnTo>
                  <a:pt x="5193" y="3584"/>
                </a:lnTo>
                <a:lnTo>
                  <a:pt x="5210" y="3670"/>
                </a:lnTo>
                <a:lnTo>
                  <a:pt x="5228" y="3816"/>
                </a:lnTo>
                <a:lnTo>
                  <a:pt x="5232" y="3961"/>
                </a:lnTo>
                <a:lnTo>
                  <a:pt x="5226" y="4105"/>
                </a:lnTo>
                <a:lnTo>
                  <a:pt x="5209" y="4247"/>
                </a:lnTo>
                <a:lnTo>
                  <a:pt x="5185" y="4389"/>
                </a:lnTo>
                <a:lnTo>
                  <a:pt x="5155" y="4529"/>
                </a:lnTo>
                <a:lnTo>
                  <a:pt x="5082" y="4809"/>
                </a:lnTo>
                <a:lnTo>
                  <a:pt x="4617" y="6403"/>
                </a:lnTo>
                <a:lnTo>
                  <a:pt x="4574" y="6584"/>
                </a:lnTo>
                <a:lnTo>
                  <a:pt x="4556" y="6758"/>
                </a:lnTo>
                <a:lnTo>
                  <a:pt x="4562" y="6924"/>
                </a:lnTo>
                <a:lnTo>
                  <a:pt x="4590" y="7081"/>
                </a:lnTo>
                <a:lnTo>
                  <a:pt x="4639" y="7228"/>
                </a:lnTo>
                <a:lnTo>
                  <a:pt x="4706" y="7364"/>
                </a:lnTo>
                <a:lnTo>
                  <a:pt x="4791" y="7487"/>
                </a:lnTo>
                <a:lnTo>
                  <a:pt x="4892" y="7598"/>
                </a:lnTo>
                <a:lnTo>
                  <a:pt x="5008" y="7693"/>
                </a:lnTo>
                <a:lnTo>
                  <a:pt x="5138" y="7774"/>
                </a:lnTo>
                <a:lnTo>
                  <a:pt x="5278" y="7838"/>
                </a:lnTo>
                <a:lnTo>
                  <a:pt x="5430" y="7885"/>
                </a:lnTo>
                <a:lnTo>
                  <a:pt x="5589" y="7914"/>
                </a:lnTo>
                <a:lnTo>
                  <a:pt x="5757" y="7922"/>
                </a:lnTo>
                <a:lnTo>
                  <a:pt x="5930" y="7911"/>
                </a:lnTo>
                <a:lnTo>
                  <a:pt x="6107" y="7877"/>
                </a:lnTo>
                <a:lnTo>
                  <a:pt x="6260" y="7832"/>
                </a:lnTo>
                <a:lnTo>
                  <a:pt x="6405" y="7774"/>
                </a:lnTo>
                <a:lnTo>
                  <a:pt x="6541" y="7704"/>
                </a:lnTo>
                <a:lnTo>
                  <a:pt x="6670" y="7623"/>
                </a:lnTo>
                <a:lnTo>
                  <a:pt x="6792" y="7531"/>
                </a:lnTo>
                <a:lnTo>
                  <a:pt x="6907" y="7429"/>
                </a:lnTo>
                <a:lnTo>
                  <a:pt x="7016" y="7318"/>
                </a:lnTo>
                <a:lnTo>
                  <a:pt x="7118" y="7198"/>
                </a:lnTo>
                <a:lnTo>
                  <a:pt x="7282" y="6978"/>
                </a:lnTo>
                <a:lnTo>
                  <a:pt x="7426" y="6749"/>
                </a:lnTo>
                <a:lnTo>
                  <a:pt x="7551" y="6512"/>
                </a:lnTo>
                <a:lnTo>
                  <a:pt x="7658" y="6268"/>
                </a:lnTo>
                <a:lnTo>
                  <a:pt x="7749" y="6017"/>
                </a:lnTo>
                <a:lnTo>
                  <a:pt x="7826" y="5760"/>
                </a:lnTo>
                <a:lnTo>
                  <a:pt x="7890" y="5498"/>
                </a:lnTo>
                <a:lnTo>
                  <a:pt x="7943" y="5232"/>
                </a:lnTo>
                <a:lnTo>
                  <a:pt x="8012" y="4785"/>
                </a:lnTo>
                <a:lnTo>
                  <a:pt x="8036" y="4561"/>
                </a:lnTo>
                <a:lnTo>
                  <a:pt x="8052" y="4336"/>
                </a:lnTo>
                <a:lnTo>
                  <a:pt x="8056" y="4111"/>
                </a:lnTo>
                <a:lnTo>
                  <a:pt x="8048" y="3887"/>
                </a:lnTo>
                <a:lnTo>
                  <a:pt x="8027" y="3662"/>
                </a:lnTo>
                <a:lnTo>
                  <a:pt x="7990" y="3438"/>
                </a:lnTo>
                <a:lnTo>
                  <a:pt x="7946" y="3244"/>
                </a:lnTo>
                <a:lnTo>
                  <a:pt x="7891" y="3058"/>
                </a:lnTo>
                <a:lnTo>
                  <a:pt x="7827" y="2881"/>
                </a:lnTo>
                <a:lnTo>
                  <a:pt x="7752" y="2713"/>
                </a:lnTo>
                <a:lnTo>
                  <a:pt x="7668" y="2554"/>
                </a:lnTo>
                <a:lnTo>
                  <a:pt x="7574" y="2403"/>
                </a:lnTo>
                <a:lnTo>
                  <a:pt x="7471" y="2262"/>
                </a:lnTo>
                <a:lnTo>
                  <a:pt x="7357" y="2130"/>
                </a:lnTo>
                <a:lnTo>
                  <a:pt x="7234" y="2006"/>
                </a:lnTo>
                <a:lnTo>
                  <a:pt x="7101" y="1892"/>
                </a:lnTo>
                <a:lnTo>
                  <a:pt x="6959" y="1788"/>
                </a:lnTo>
                <a:lnTo>
                  <a:pt x="6807" y="1693"/>
                </a:lnTo>
                <a:lnTo>
                  <a:pt x="6646" y="1607"/>
                </a:lnTo>
                <a:lnTo>
                  <a:pt x="6475" y="1531"/>
                </a:lnTo>
                <a:lnTo>
                  <a:pt x="6295" y="1464"/>
                </a:lnTo>
                <a:lnTo>
                  <a:pt x="6105" y="1408"/>
                </a:lnTo>
                <a:lnTo>
                  <a:pt x="5642" y="1307"/>
                </a:lnTo>
                <a:lnTo>
                  <a:pt x="5412" y="1273"/>
                </a:lnTo>
                <a:lnTo>
                  <a:pt x="5184" y="1253"/>
                </a:lnTo>
                <a:lnTo>
                  <a:pt x="4959" y="1244"/>
                </a:lnTo>
                <a:lnTo>
                  <a:pt x="4735" y="1249"/>
                </a:lnTo>
                <a:lnTo>
                  <a:pt x="4514" y="1266"/>
                </a:lnTo>
                <a:lnTo>
                  <a:pt x="4296" y="1298"/>
                </a:lnTo>
                <a:lnTo>
                  <a:pt x="4080" y="1343"/>
                </a:lnTo>
                <a:lnTo>
                  <a:pt x="3867" y="1402"/>
                </a:lnTo>
                <a:lnTo>
                  <a:pt x="3658" y="1476"/>
                </a:lnTo>
                <a:lnTo>
                  <a:pt x="3451" y="1565"/>
                </a:lnTo>
                <a:lnTo>
                  <a:pt x="3249" y="1669"/>
                </a:lnTo>
                <a:lnTo>
                  <a:pt x="3050" y="1788"/>
                </a:lnTo>
                <a:lnTo>
                  <a:pt x="2855" y="1923"/>
                </a:lnTo>
                <a:lnTo>
                  <a:pt x="2664" y="2075"/>
                </a:lnTo>
                <a:lnTo>
                  <a:pt x="2479" y="2241"/>
                </a:lnTo>
                <a:lnTo>
                  <a:pt x="2309" y="2413"/>
                </a:lnTo>
                <a:lnTo>
                  <a:pt x="2155" y="2590"/>
                </a:lnTo>
                <a:lnTo>
                  <a:pt x="2015" y="2774"/>
                </a:lnTo>
                <a:lnTo>
                  <a:pt x="1891" y="2964"/>
                </a:lnTo>
                <a:lnTo>
                  <a:pt x="1782" y="3159"/>
                </a:lnTo>
                <a:lnTo>
                  <a:pt x="1687" y="3360"/>
                </a:lnTo>
                <a:lnTo>
                  <a:pt x="1608" y="3566"/>
                </a:lnTo>
                <a:lnTo>
                  <a:pt x="1544" y="3778"/>
                </a:lnTo>
                <a:lnTo>
                  <a:pt x="1495" y="3995"/>
                </a:lnTo>
                <a:lnTo>
                  <a:pt x="1460" y="4217"/>
                </a:lnTo>
                <a:lnTo>
                  <a:pt x="1441" y="4444"/>
                </a:lnTo>
                <a:lnTo>
                  <a:pt x="1437" y="4677"/>
                </a:lnTo>
                <a:lnTo>
                  <a:pt x="1447" y="4914"/>
                </a:lnTo>
                <a:lnTo>
                  <a:pt x="1473" y="5156"/>
                </a:lnTo>
                <a:lnTo>
                  <a:pt x="1513" y="5403"/>
                </a:lnTo>
                <a:lnTo>
                  <a:pt x="1536" y="5503"/>
                </a:lnTo>
                <a:lnTo>
                  <a:pt x="1565" y="5601"/>
                </a:lnTo>
                <a:lnTo>
                  <a:pt x="1602" y="5697"/>
                </a:lnTo>
                <a:lnTo>
                  <a:pt x="1644" y="5789"/>
                </a:lnTo>
                <a:lnTo>
                  <a:pt x="1694" y="5879"/>
                </a:lnTo>
                <a:lnTo>
                  <a:pt x="1749" y="5965"/>
                </a:lnTo>
                <a:lnTo>
                  <a:pt x="1810" y="6047"/>
                </a:lnTo>
                <a:lnTo>
                  <a:pt x="1877" y="6126"/>
                </a:lnTo>
                <a:lnTo>
                  <a:pt x="1904" y="6157"/>
                </a:lnTo>
                <a:lnTo>
                  <a:pt x="1929" y="6189"/>
                </a:lnTo>
                <a:lnTo>
                  <a:pt x="1951" y="6221"/>
                </a:lnTo>
                <a:lnTo>
                  <a:pt x="1970" y="6253"/>
                </a:lnTo>
                <a:lnTo>
                  <a:pt x="1987" y="6286"/>
                </a:lnTo>
                <a:lnTo>
                  <a:pt x="2001" y="6319"/>
                </a:lnTo>
                <a:lnTo>
                  <a:pt x="2012" y="6352"/>
                </a:lnTo>
                <a:lnTo>
                  <a:pt x="2021" y="6386"/>
                </a:lnTo>
                <a:lnTo>
                  <a:pt x="2027" y="6420"/>
                </a:lnTo>
                <a:lnTo>
                  <a:pt x="2030" y="6455"/>
                </a:lnTo>
                <a:lnTo>
                  <a:pt x="2031" y="6490"/>
                </a:lnTo>
                <a:lnTo>
                  <a:pt x="2029" y="6526"/>
                </a:lnTo>
                <a:lnTo>
                  <a:pt x="2024" y="6563"/>
                </a:lnTo>
                <a:lnTo>
                  <a:pt x="2016" y="6601"/>
                </a:lnTo>
                <a:lnTo>
                  <a:pt x="2006" y="6640"/>
                </a:lnTo>
                <a:lnTo>
                  <a:pt x="1994" y="6679"/>
                </a:lnTo>
                <a:lnTo>
                  <a:pt x="1975" y="6736"/>
                </a:lnTo>
                <a:lnTo>
                  <a:pt x="1959" y="6794"/>
                </a:lnTo>
                <a:lnTo>
                  <a:pt x="1930" y="6910"/>
                </a:lnTo>
                <a:lnTo>
                  <a:pt x="1874" y="7142"/>
                </a:lnTo>
                <a:lnTo>
                  <a:pt x="1862" y="7181"/>
                </a:lnTo>
                <a:lnTo>
                  <a:pt x="1848" y="7215"/>
                </a:lnTo>
                <a:lnTo>
                  <a:pt x="1833" y="7247"/>
                </a:lnTo>
                <a:lnTo>
                  <a:pt x="1816" y="7275"/>
                </a:lnTo>
                <a:lnTo>
                  <a:pt x="1797" y="7299"/>
                </a:lnTo>
                <a:lnTo>
                  <a:pt x="1777" y="7320"/>
                </a:lnTo>
                <a:lnTo>
                  <a:pt x="1755" y="7337"/>
                </a:lnTo>
                <a:lnTo>
                  <a:pt x="1731" y="7351"/>
                </a:lnTo>
                <a:lnTo>
                  <a:pt x="1705" y="7361"/>
                </a:lnTo>
                <a:lnTo>
                  <a:pt x="1678" y="7368"/>
                </a:lnTo>
                <a:lnTo>
                  <a:pt x="1649" y="7372"/>
                </a:lnTo>
                <a:lnTo>
                  <a:pt x="1618" y="7372"/>
                </a:lnTo>
                <a:lnTo>
                  <a:pt x="1586" y="7368"/>
                </a:lnTo>
                <a:lnTo>
                  <a:pt x="1552" y="7361"/>
                </a:lnTo>
                <a:lnTo>
                  <a:pt x="1516" y="7350"/>
                </a:lnTo>
                <a:lnTo>
                  <a:pt x="1479" y="7335"/>
                </a:lnTo>
                <a:lnTo>
                  <a:pt x="1282" y="7241"/>
                </a:lnTo>
                <a:lnTo>
                  <a:pt x="1102" y="7132"/>
                </a:lnTo>
                <a:lnTo>
                  <a:pt x="1017" y="7071"/>
                </a:lnTo>
                <a:lnTo>
                  <a:pt x="936" y="7007"/>
                </a:lnTo>
                <a:lnTo>
                  <a:pt x="859" y="6939"/>
                </a:lnTo>
                <a:lnTo>
                  <a:pt x="785" y="6867"/>
                </a:lnTo>
                <a:lnTo>
                  <a:pt x="650" y="6713"/>
                </a:lnTo>
                <a:lnTo>
                  <a:pt x="529" y="6545"/>
                </a:lnTo>
                <a:lnTo>
                  <a:pt x="422" y="6364"/>
                </a:lnTo>
                <a:lnTo>
                  <a:pt x="330" y="6170"/>
                </a:lnTo>
                <a:lnTo>
                  <a:pt x="182" y="5767"/>
                </a:lnTo>
                <a:lnTo>
                  <a:pt x="124" y="5565"/>
                </a:lnTo>
                <a:lnTo>
                  <a:pt x="78" y="5363"/>
                </a:lnTo>
                <a:lnTo>
                  <a:pt x="42" y="5162"/>
                </a:lnTo>
                <a:lnTo>
                  <a:pt x="17" y="4960"/>
                </a:lnTo>
                <a:lnTo>
                  <a:pt x="3" y="4758"/>
                </a:lnTo>
                <a:lnTo>
                  <a:pt x="0" y="4556"/>
                </a:lnTo>
                <a:lnTo>
                  <a:pt x="8" y="4355"/>
                </a:lnTo>
                <a:lnTo>
                  <a:pt x="26" y="4153"/>
                </a:lnTo>
                <a:lnTo>
                  <a:pt x="55" y="3952"/>
                </a:lnTo>
                <a:lnTo>
                  <a:pt x="94" y="3751"/>
                </a:lnTo>
                <a:lnTo>
                  <a:pt x="204" y="3350"/>
                </a:lnTo>
                <a:lnTo>
                  <a:pt x="355" y="2951"/>
                </a:lnTo>
                <a:lnTo>
                  <a:pt x="473" y="2695"/>
                </a:lnTo>
                <a:lnTo>
                  <a:pt x="602" y="2450"/>
                </a:lnTo>
                <a:lnTo>
                  <a:pt x="742" y="2218"/>
                </a:lnTo>
                <a:lnTo>
                  <a:pt x="893" y="1998"/>
                </a:lnTo>
                <a:lnTo>
                  <a:pt x="1054" y="1789"/>
                </a:lnTo>
                <a:lnTo>
                  <a:pt x="1226" y="1592"/>
                </a:lnTo>
                <a:lnTo>
                  <a:pt x="1407" y="1407"/>
                </a:lnTo>
                <a:lnTo>
                  <a:pt x="1599" y="1233"/>
                </a:lnTo>
                <a:lnTo>
                  <a:pt x="1801" y="1071"/>
                </a:lnTo>
                <a:lnTo>
                  <a:pt x="2012" y="921"/>
                </a:lnTo>
                <a:lnTo>
                  <a:pt x="2233" y="781"/>
                </a:lnTo>
                <a:lnTo>
                  <a:pt x="2463" y="653"/>
                </a:lnTo>
                <a:lnTo>
                  <a:pt x="2703" y="537"/>
                </a:lnTo>
                <a:lnTo>
                  <a:pt x="2952" y="431"/>
                </a:lnTo>
                <a:lnTo>
                  <a:pt x="3478" y="254"/>
                </a:lnTo>
                <a:lnTo>
                  <a:pt x="3953" y="135"/>
                </a:lnTo>
                <a:lnTo>
                  <a:pt x="4428" y="52"/>
                </a:lnTo>
                <a:lnTo>
                  <a:pt x="4903" y="6"/>
                </a:lnTo>
                <a:lnTo>
                  <a:pt x="5376" y="0"/>
                </a:lnTo>
                <a:lnTo>
                  <a:pt x="5848" y="37"/>
                </a:lnTo>
                <a:lnTo>
                  <a:pt x="6317" y="118"/>
                </a:lnTo>
                <a:lnTo>
                  <a:pt x="6783" y="245"/>
                </a:lnTo>
                <a:lnTo>
                  <a:pt x="7245" y="422"/>
                </a:lnTo>
                <a:lnTo>
                  <a:pt x="7493" y="538"/>
                </a:lnTo>
                <a:lnTo>
                  <a:pt x="7729" y="664"/>
                </a:lnTo>
                <a:lnTo>
                  <a:pt x="7954" y="801"/>
                </a:lnTo>
                <a:lnTo>
                  <a:pt x="8167" y="947"/>
                </a:lnTo>
                <a:lnTo>
                  <a:pt x="8369" y="1103"/>
                </a:lnTo>
                <a:lnTo>
                  <a:pt x="8558" y="1269"/>
                </a:lnTo>
                <a:lnTo>
                  <a:pt x="8735" y="1446"/>
                </a:lnTo>
                <a:lnTo>
                  <a:pt x="8900" y="1632"/>
                </a:lnTo>
                <a:lnTo>
                  <a:pt x="9053" y="1829"/>
                </a:lnTo>
                <a:lnTo>
                  <a:pt x="9193" y="2036"/>
                </a:lnTo>
                <a:lnTo>
                  <a:pt x="9321" y="2254"/>
                </a:lnTo>
                <a:lnTo>
                  <a:pt x="9435" y="2481"/>
                </a:lnTo>
                <a:lnTo>
                  <a:pt x="9537" y="2719"/>
                </a:lnTo>
                <a:lnTo>
                  <a:pt x="9626" y="2968"/>
                </a:lnTo>
                <a:lnTo>
                  <a:pt x="9702" y="3227"/>
                </a:lnTo>
                <a:lnTo>
                  <a:pt x="9765" y="3497"/>
                </a:lnTo>
                <a:lnTo>
                  <a:pt x="9802" y="3716"/>
                </a:lnTo>
                <a:lnTo>
                  <a:pt x="9825" y="3935"/>
                </a:lnTo>
                <a:lnTo>
                  <a:pt x="9836" y="4155"/>
                </a:lnTo>
                <a:lnTo>
                  <a:pt x="9835" y="4374"/>
                </a:lnTo>
                <a:lnTo>
                  <a:pt x="9825" y="4594"/>
                </a:lnTo>
                <a:lnTo>
                  <a:pt x="9806" y="4813"/>
                </a:lnTo>
                <a:lnTo>
                  <a:pt x="9751" y="5252"/>
                </a:lnTo>
                <a:lnTo>
                  <a:pt x="9694" y="5585"/>
                </a:lnTo>
                <a:lnTo>
                  <a:pt x="9620" y="5912"/>
                </a:lnTo>
                <a:lnTo>
                  <a:pt x="9529" y="6232"/>
                </a:lnTo>
                <a:lnTo>
                  <a:pt x="9420" y="6545"/>
                </a:lnTo>
                <a:lnTo>
                  <a:pt x="9291" y="6850"/>
                </a:lnTo>
                <a:lnTo>
                  <a:pt x="9140" y="7146"/>
                </a:lnTo>
                <a:lnTo>
                  <a:pt x="8968" y="7434"/>
                </a:lnTo>
                <a:lnTo>
                  <a:pt x="8772" y="7712"/>
                </a:lnTo>
                <a:lnTo>
                  <a:pt x="8493" y="8045"/>
                </a:lnTo>
                <a:lnTo>
                  <a:pt x="8346" y="8196"/>
                </a:lnTo>
                <a:lnTo>
                  <a:pt x="8193" y="8337"/>
                </a:lnTo>
                <a:lnTo>
                  <a:pt x="8034" y="8467"/>
                </a:lnTo>
                <a:lnTo>
                  <a:pt x="7870" y="8587"/>
                </a:lnTo>
                <a:lnTo>
                  <a:pt x="7701" y="8696"/>
                </a:lnTo>
                <a:lnTo>
                  <a:pt x="7525" y="8795"/>
                </a:lnTo>
                <a:lnTo>
                  <a:pt x="7345" y="8882"/>
                </a:lnTo>
                <a:lnTo>
                  <a:pt x="7159" y="8958"/>
                </a:lnTo>
                <a:lnTo>
                  <a:pt x="6967" y="9023"/>
                </a:lnTo>
                <a:lnTo>
                  <a:pt x="6769" y="9077"/>
                </a:lnTo>
                <a:lnTo>
                  <a:pt x="6566" y="9119"/>
                </a:lnTo>
                <a:lnTo>
                  <a:pt x="6357" y="9150"/>
                </a:lnTo>
                <a:lnTo>
                  <a:pt x="6143" y="9169"/>
                </a:lnTo>
                <a:lnTo>
                  <a:pt x="5922" y="9176"/>
                </a:lnTo>
                <a:lnTo>
                  <a:pt x="5655" y="9165"/>
                </a:lnTo>
                <a:lnTo>
                  <a:pt x="5525" y="9150"/>
                </a:lnTo>
                <a:lnTo>
                  <a:pt x="5398" y="9128"/>
                </a:lnTo>
                <a:lnTo>
                  <a:pt x="5273" y="9099"/>
                </a:lnTo>
                <a:lnTo>
                  <a:pt x="5152" y="9063"/>
                </a:lnTo>
                <a:lnTo>
                  <a:pt x="5034" y="9020"/>
                </a:lnTo>
                <a:lnTo>
                  <a:pt x="4918" y="8970"/>
                </a:lnTo>
                <a:lnTo>
                  <a:pt x="4806" y="8913"/>
                </a:lnTo>
                <a:lnTo>
                  <a:pt x="4697" y="8848"/>
                </a:lnTo>
                <a:lnTo>
                  <a:pt x="4591" y="8776"/>
                </a:lnTo>
                <a:lnTo>
                  <a:pt x="4489" y="8696"/>
                </a:lnTo>
                <a:lnTo>
                  <a:pt x="4390" y="8608"/>
                </a:lnTo>
                <a:lnTo>
                  <a:pt x="4295" y="8512"/>
                </a:lnTo>
                <a:lnTo>
                  <a:pt x="4203" y="8408"/>
                </a:lnTo>
                <a:lnTo>
                  <a:pt x="4115" y="8296"/>
                </a:lnTo>
              </a:path>
            </a:pathLst>
          </a:custGeom>
          <a:solidFill>
            <a:srgbClr val="123563"/>
          </a:solidFill>
          <a:ln>
            <a:noFill/>
          </a:ln>
          <a:effectLst/>
        </p:spPr>
        <p:txBody>
          <a:bodyPr wrap="none" anchor="ctr"/>
          <a:lstStyle/>
          <a:p>
            <a:endParaRPr lang="de-DE" sz="1800" dirty="0">
              <a:latin typeface="BISansOpti"/>
            </a:endParaRPr>
          </a:p>
        </p:txBody>
      </p:sp>
      <p:sp>
        <p:nvSpPr>
          <p:cNvPr id="17" name="Freeform 2"/>
          <p:cNvSpPr>
            <a:spLocks noChangeAspect="1" noChangeArrowheads="1"/>
          </p:cNvSpPr>
          <p:nvPr userDrawn="1"/>
        </p:nvSpPr>
        <p:spPr bwMode="auto">
          <a:xfrm>
            <a:off x="3887067" y="1696076"/>
            <a:ext cx="431999" cy="431999"/>
          </a:xfrm>
          <a:custGeom>
            <a:avLst/>
            <a:gdLst>
              <a:gd name="T0" fmla="*/ 12913 w 14438"/>
              <a:gd name="T1" fmla="*/ 17 h 14438"/>
              <a:gd name="T2" fmla="*/ 13781 w 14438"/>
              <a:gd name="T3" fmla="*/ 392 h 14438"/>
              <a:gd name="T4" fmla="*/ 14305 w 14438"/>
              <a:gd name="T5" fmla="*/ 1097 h 14438"/>
              <a:gd name="T6" fmla="*/ 14432 w 14438"/>
              <a:gd name="T7" fmla="*/ 12796 h 14438"/>
              <a:gd name="T8" fmla="*/ 14249 w 14438"/>
              <a:gd name="T9" fmla="*/ 13460 h 14438"/>
              <a:gd name="T10" fmla="*/ 13703 w 14438"/>
              <a:gd name="T11" fmla="*/ 14108 h 14438"/>
              <a:gd name="T12" fmla="*/ 12896 w 14438"/>
              <a:gd name="T13" fmla="*/ 14422 h 14438"/>
              <a:gd name="T14" fmla="*/ 1127 w 14438"/>
              <a:gd name="T15" fmla="*/ 14320 h 14438"/>
              <a:gd name="T16" fmla="*/ 473 w 14438"/>
              <a:gd name="T17" fmla="*/ 13875 h 14438"/>
              <a:gd name="T18" fmla="*/ 75 w 14438"/>
              <a:gd name="T19" fmla="*/ 13174 h 14438"/>
              <a:gd name="T20" fmla="*/ 19 w 14438"/>
              <a:gd name="T21" fmla="*/ 1490 h 14438"/>
              <a:gd name="T22" fmla="*/ 243 w 14438"/>
              <a:gd name="T23" fmla="*/ 870 h 14438"/>
              <a:gd name="T24" fmla="*/ 717 w 14438"/>
              <a:gd name="T25" fmla="*/ 343 h 14438"/>
              <a:gd name="T26" fmla="*/ 1356 w 14438"/>
              <a:gd name="T27" fmla="*/ 46 h 14438"/>
              <a:gd name="T28" fmla="*/ 11674 w 14438"/>
              <a:gd name="T29" fmla="*/ 6803 h 14438"/>
              <a:gd name="T30" fmla="*/ 11511 w 14438"/>
              <a:gd name="T31" fmla="*/ 8713 h 14438"/>
              <a:gd name="T32" fmla="*/ 10505 w 14438"/>
              <a:gd name="T33" fmla="*/ 10313 h 14438"/>
              <a:gd name="T34" fmla="*/ 8796 w 14438"/>
              <a:gd name="T35" fmla="*/ 11441 h 14438"/>
              <a:gd name="T36" fmla="*/ 6950 w 14438"/>
              <a:gd name="T37" fmla="*/ 11727 h 14438"/>
              <a:gd name="T38" fmla="*/ 5067 w 14438"/>
              <a:gd name="T39" fmla="*/ 11137 h 14438"/>
              <a:gd name="T40" fmla="*/ 3387 w 14438"/>
              <a:gd name="T41" fmla="*/ 9647 h 14438"/>
              <a:gd name="T42" fmla="*/ 2759 w 14438"/>
              <a:gd name="T43" fmla="*/ 7666 h 14438"/>
              <a:gd name="T44" fmla="*/ 1801 w 14438"/>
              <a:gd name="T45" fmla="*/ 6048 h 14438"/>
              <a:gd name="T46" fmla="*/ 1831 w 14438"/>
              <a:gd name="T47" fmla="*/ 12398 h 14438"/>
              <a:gd name="T48" fmla="*/ 1969 w 14438"/>
              <a:gd name="T49" fmla="*/ 12574 h 14438"/>
              <a:gd name="T50" fmla="*/ 2231 w 14438"/>
              <a:gd name="T51" fmla="*/ 12635 h 14438"/>
              <a:gd name="T52" fmla="*/ 12355 w 14438"/>
              <a:gd name="T53" fmla="*/ 12615 h 14438"/>
              <a:gd name="T54" fmla="*/ 12494 w 14438"/>
              <a:gd name="T55" fmla="*/ 12559 h 14438"/>
              <a:gd name="T56" fmla="*/ 12584 w 14438"/>
              <a:gd name="T57" fmla="*/ 12451 h 14438"/>
              <a:gd name="T58" fmla="*/ 12630 w 14438"/>
              <a:gd name="T59" fmla="*/ 12242 h 14438"/>
              <a:gd name="T60" fmla="*/ 7228 w 14438"/>
              <a:gd name="T61" fmla="*/ 10019 h 14438"/>
              <a:gd name="T62" fmla="*/ 8762 w 14438"/>
              <a:gd name="T63" fmla="*/ 9581 h 14438"/>
              <a:gd name="T64" fmla="*/ 9907 w 14438"/>
              <a:gd name="T65" fmla="*/ 8263 h 14438"/>
              <a:gd name="T66" fmla="*/ 10045 w 14438"/>
              <a:gd name="T67" fmla="*/ 6516 h 14438"/>
              <a:gd name="T68" fmla="*/ 9166 w 14438"/>
              <a:gd name="T69" fmla="*/ 5099 h 14438"/>
              <a:gd name="T70" fmla="*/ 7702 w 14438"/>
              <a:gd name="T71" fmla="*/ 4419 h 14438"/>
              <a:gd name="T72" fmla="*/ 6052 w 14438"/>
              <a:gd name="T73" fmla="*/ 4623 h 14438"/>
              <a:gd name="T74" fmla="*/ 4844 w 14438"/>
              <a:gd name="T75" fmla="*/ 5593 h 14438"/>
              <a:gd name="T76" fmla="*/ 4336 w 14438"/>
              <a:gd name="T77" fmla="*/ 7017 h 14438"/>
              <a:gd name="T78" fmla="*/ 4649 w 14438"/>
              <a:gd name="T79" fmla="*/ 8481 h 14438"/>
              <a:gd name="T80" fmla="*/ 5608 w 14438"/>
              <a:gd name="T81" fmla="*/ 9522 h 14438"/>
              <a:gd name="T82" fmla="*/ 6977 w 14438"/>
              <a:gd name="T83" fmla="*/ 10006 h 14438"/>
              <a:gd name="T84" fmla="*/ 9947 w 14438"/>
              <a:gd name="T85" fmla="*/ 4184 h 14438"/>
              <a:gd name="T86" fmla="*/ 10089 w 14438"/>
              <a:gd name="T87" fmla="*/ 4407 h 14438"/>
              <a:gd name="T88" fmla="*/ 10342 w 14438"/>
              <a:gd name="T89" fmla="*/ 4506 h 14438"/>
              <a:gd name="T90" fmla="*/ 12359 w 14438"/>
              <a:gd name="T91" fmla="*/ 4474 h 14438"/>
              <a:gd name="T92" fmla="*/ 12560 w 14438"/>
              <a:gd name="T93" fmla="*/ 4309 h 14438"/>
              <a:gd name="T94" fmla="*/ 12635 w 14438"/>
              <a:gd name="T95" fmla="*/ 4037 h 14438"/>
              <a:gd name="T96" fmla="*/ 12582 w 14438"/>
              <a:gd name="T97" fmla="*/ 2038 h 14438"/>
              <a:gd name="T98" fmla="*/ 12395 w 14438"/>
              <a:gd name="T99" fmla="*/ 1854 h 14438"/>
              <a:gd name="T100" fmla="*/ 10408 w 14438"/>
              <a:gd name="T101" fmla="*/ 1802 h 14438"/>
              <a:gd name="T102" fmla="*/ 10126 w 14438"/>
              <a:gd name="T103" fmla="*/ 1877 h 14438"/>
              <a:gd name="T104" fmla="*/ 9962 w 14438"/>
              <a:gd name="T105" fmla="*/ 2086 h 144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14438" h="14438">
                <a:moveTo>
                  <a:pt x="12872" y="0"/>
                </a:moveTo>
                <a:lnTo>
                  <a:pt x="12892" y="10"/>
                </a:lnTo>
                <a:lnTo>
                  <a:pt x="12897" y="12"/>
                </a:lnTo>
                <a:lnTo>
                  <a:pt x="12903" y="14"/>
                </a:lnTo>
                <a:lnTo>
                  <a:pt x="12908" y="16"/>
                </a:lnTo>
                <a:lnTo>
                  <a:pt x="12913" y="17"/>
                </a:lnTo>
                <a:lnTo>
                  <a:pt x="13079" y="54"/>
                </a:lnTo>
                <a:lnTo>
                  <a:pt x="13237" y="102"/>
                </a:lnTo>
                <a:lnTo>
                  <a:pt x="13387" y="160"/>
                </a:lnTo>
                <a:lnTo>
                  <a:pt x="13527" y="227"/>
                </a:lnTo>
                <a:lnTo>
                  <a:pt x="13659" y="305"/>
                </a:lnTo>
                <a:lnTo>
                  <a:pt x="13781" y="392"/>
                </a:lnTo>
                <a:lnTo>
                  <a:pt x="13894" y="488"/>
                </a:lnTo>
                <a:lnTo>
                  <a:pt x="13997" y="594"/>
                </a:lnTo>
                <a:lnTo>
                  <a:pt x="14089" y="707"/>
                </a:lnTo>
                <a:lnTo>
                  <a:pt x="14172" y="829"/>
                </a:lnTo>
                <a:lnTo>
                  <a:pt x="14244" y="959"/>
                </a:lnTo>
                <a:lnTo>
                  <a:pt x="14305" y="1097"/>
                </a:lnTo>
                <a:lnTo>
                  <a:pt x="14355" y="1242"/>
                </a:lnTo>
                <a:lnTo>
                  <a:pt x="14394" y="1394"/>
                </a:lnTo>
                <a:lnTo>
                  <a:pt x="14421" y="1553"/>
                </a:lnTo>
                <a:lnTo>
                  <a:pt x="14437" y="1718"/>
                </a:lnTo>
                <a:lnTo>
                  <a:pt x="14437" y="12716"/>
                </a:lnTo>
                <a:lnTo>
                  <a:pt x="14432" y="12796"/>
                </a:lnTo>
                <a:lnTo>
                  <a:pt x="14424" y="12876"/>
                </a:lnTo>
                <a:lnTo>
                  <a:pt x="14412" y="12955"/>
                </a:lnTo>
                <a:lnTo>
                  <a:pt x="14397" y="13033"/>
                </a:lnTo>
                <a:lnTo>
                  <a:pt x="14358" y="13182"/>
                </a:lnTo>
                <a:lnTo>
                  <a:pt x="14308" y="13325"/>
                </a:lnTo>
                <a:lnTo>
                  <a:pt x="14249" y="13460"/>
                </a:lnTo>
                <a:lnTo>
                  <a:pt x="14179" y="13588"/>
                </a:lnTo>
                <a:lnTo>
                  <a:pt x="14101" y="13709"/>
                </a:lnTo>
                <a:lnTo>
                  <a:pt x="14014" y="13821"/>
                </a:lnTo>
                <a:lnTo>
                  <a:pt x="13918" y="13925"/>
                </a:lnTo>
                <a:lnTo>
                  <a:pt x="13814" y="14021"/>
                </a:lnTo>
                <a:lnTo>
                  <a:pt x="13703" y="14108"/>
                </a:lnTo>
                <a:lnTo>
                  <a:pt x="13584" y="14185"/>
                </a:lnTo>
                <a:lnTo>
                  <a:pt x="13458" y="14253"/>
                </a:lnTo>
                <a:lnTo>
                  <a:pt x="13326" y="14311"/>
                </a:lnTo>
                <a:lnTo>
                  <a:pt x="13189" y="14358"/>
                </a:lnTo>
                <a:lnTo>
                  <a:pt x="13045" y="14396"/>
                </a:lnTo>
                <a:lnTo>
                  <a:pt x="12896" y="14422"/>
                </a:lnTo>
                <a:lnTo>
                  <a:pt x="12743" y="14437"/>
                </a:lnTo>
                <a:lnTo>
                  <a:pt x="1655" y="14437"/>
                </a:lnTo>
                <a:lnTo>
                  <a:pt x="1518" y="14423"/>
                </a:lnTo>
                <a:lnTo>
                  <a:pt x="1384" y="14398"/>
                </a:lnTo>
                <a:lnTo>
                  <a:pt x="1253" y="14364"/>
                </a:lnTo>
                <a:lnTo>
                  <a:pt x="1127" y="14320"/>
                </a:lnTo>
                <a:lnTo>
                  <a:pt x="1004" y="14266"/>
                </a:lnTo>
                <a:lnTo>
                  <a:pt x="887" y="14204"/>
                </a:lnTo>
                <a:lnTo>
                  <a:pt x="774" y="14134"/>
                </a:lnTo>
                <a:lnTo>
                  <a:pt x="668" y="14055"/>
                </a:lnTo>
                <a:lnTo>
                  <a:pt x="567" y="13969"/>
                </a:lnTo>
                <a:lnTo>
                  <a:pt x="473" y="13875"/>
                </a:lnTo>
                <a:lnTo>
                  <a:pt x="387" y="13774"/>
                </a:lnTo>
                <a:lnTo>
                  <a:pt x="307" y="13666"/>
                </a:lnTo>
                <a:lnTo>
                  <a:pt x="236" y="13552"/>
                </a:lnTo>
                <a:lnTo>
                  <a:pt x="173" y="13431"/>
                </a:lnTo>
                <a:lnTo>
                  <a:pt x="119" y="13305"/>
                </a:lnTo>
                <a:lnTo>
                  <a:pt x="75" y="13174"/>
                </a:lnTo>
                <a:lnTo>
                  <a:pt x="55" y="13101"/>
                </a:lnTo>
                <a:lnTo>
                  <a:pt x="36" y="13028"/>
                </a:lnTo>
                <a:lnTo>
                  <a:pt x="0" y="12881"/>
                </a:lnTo>
                <a:lnTo>
                  <a:pt x="0" y="1558"/>
                </a:lnTo>
                <a:lnTo>
                  <a:pt x="13" y="1513"/>
                </a:lnTo>
                <a:lnTo>
                  <a:pt x="19" y="1490"/>
                </a:lnTo>
                <a:lnTo>
                  <a:pt x="24" y="1468"/>
                </a:lnTo>
                <a:lnTo>
                  <a:pt x="55" y="1337"/>
                </a:lnTo>
                <a:lnTo>
                  <a:pt x="92" y="1211"/>
                </a:lnTo>
                <a:lnTo>
                  <a:pt x="136" y="1092"/>
                </a:lnTo>
                <a:lnTo>
                  <a:pt x="186" y="978"/>
                </a:lnTo>
                <a:lnTo>
                  <a:pt x="243" y="870"/>
                </a:lnTo>
                <a:lnTo>
                  <a:pt x="306" y="767"/>
                </a:lnTo>
                <a:lnTo>
                  <a:pt x="375" y="671"/>
                </a:lnTo>
                <a:lnTo>
                  <a:pt x="451" y="580"/>
                </a:lnTo>
                <a:lnTo>
                  <a:pt x="533" y="495"/>
                </a:lnTo>
                <a:lnTo>
                  <a:pt x="622" y="416"/>
                </a:lnTo>
                <a:lnTo>
                  <a:pt x="717" y="343"/>
                </a:lnTo>
                <a:lnTo>
                  <a:pt x="819" y="276"/>
                </a:lnTo>
                <a:lnTo>
                  <a:pt x="927" y="214"/>
                </a:lnTo>
                <a:lnTo>
                  <a:pt x="1042" y="159"/>
                </a:lnTo>
                <a:lnTo>
                  <a:pt x="1163" y="109"/>
                </a:lnTo>
                <a:lnTo>
                  <a:pt x="1291" y="65"/>
                </a:lnTo>
                <a:lnTo>
                  <a:pt x="1356" y="46"/>
                </a:lnTo>
                <a:lnTo>
                  <a:pt x="1422" y="30"/>
                </a:lnTo>
                <a:lnTo>
                  <a:pt x="1554" y="0"/>
                </a:lnTo>
                <a:lnTo>
                  <a:pt x="12872" y="0"/>
                </a:lnTo>
                <a:close/>
                <a:moveTo>
                  <a:pt x="11550" y="6105"/>
                </a:moveTo>
                <a:lnTo>
                  <a:pt x="11623" y="6457"/>
                </a:lnTo>
                <a:lnTo>
                  <a:pt x="11674" y="6803"/>
                </a:lnTo>
                <a:lnTo>
                  <a:pt x="11703" y="7141"/>
                </a:lnTo>
                <a:lnTo>
                  <a:pt x="11710" y="7472"/>
                </a:lnTo>
                <a:lnTo>
                  <a:pt x="11695" y="7794"/>
                </a:lnTo>
                <a:lnTo>
                  <a:pt x="11656" y="8109"/>
                </a:lnTo>
                <a:lnTo>
                  <a:pt x="11595" y="8415"/>
                </a:lnTo>
                <a:lnTo>
                  <a:pt x="11511" y="8713"/>
                </a:lnTo>
                <a:lnTo>
                  <a:pt x="11404" y="9002"/>
                </a:lnTo>
                <a:lnTo>
                  <a:pt x="11272" y="9283"/>
                </a:lnTo>
                <a:lnTo>
                  <a:pt x="11117" y="9554"/>
                </a:lnTo>
                <a:lnTo>
                  <a:pt x="10937" y="9817"/>
                </a:lnTo>
                <a:lnTo>
                  <a:pt x="10733" y="10070"/>
                </a:lnTo>
                <a:lnTo>
                  <a:pt x="10505" y="10313"/>
                </a:lnTo>
                <a:lnTo>
                  <a:pt x="10251" y="10547"/>
                </a:lnTo>
                <a:lnTo>
                  <a:pt x="9972" y="10770"/>
                </a:lnTo>
                <a:lnTo>
                  <a:pt x="9684" y="10973"/>
                </a:lnTo>
                <a:lnTo>
                  <a:pt x="9391" y="11153"/>
                </a:lnTo>
                <a:lnTo>
                  <a:pt x="9095" y="11309"/>
                </a:lnTo>
                <a:lnTo>
                  <a:pt x="8796" y="11441"/>
                </a:lnTo>
                <a:lnTo>
                  <a:pt x="8493" y="11549"/>
                </a:lnTo>
                <a:lnTo>
                  <a:pt x="8189" y="11633"/>
                </a:lnTo>
                <a:lnTo>
                  <a:pt x="7881" y="11693"/>
                </a:lnTo>
                <a:lnTo>
                  <a:pt x="7572" y="11728"/>
                </a:lnTo>
                <a:lnTo>
                  <a:pt x="7262" y="11740"/>
                </a:lnTo>
                <a:lnTo>
                  <a:pt x="6950" y="11727"/>
                </a:lnTo>
                <a:lnTo>
                  <a:pt x="6636" y="11690"/>
                </a:lnTo>
                <a:lnTo>
                  <a:pt x="6323" y="11629"/>
                </a:lnTo>
                <a:lnTo>
                  <a:pt x="6008" y="11543"/>
                </a:lnTo>
                <a:lnTo>
                  <a:pt x="5694" y="11432"/>
                </a:lnTo>
                <a:lnTo>
                  <a:pt x="5380" y="11297"/>
                </a:lnTo>
                <a:lnTo>
                  <a:pt x="5067" y="11137"/>
                </a:lnTo>
                <a:lnTo>
                  <a:pt x="4711" y="10926"/>
                </a:lnTo>
                <a:lnTo>
                  <a:pt x="4386" y="10699"/>
                </a:lnTo>
                <a:lnTo>
                  <a:pt x="4092" y="10457"/>
                </a:lnTo>
                <a:lnTo>
                  <a:pt x="3827" y="10202"/>
                </a:lnTo>
                <a:lnTo>
                  <a:pt x="3592" y="9931"/>
                </a:lnTo>
                <a:lnTo>
                  <a:pt x="3387" y="9647"/>
                </a:lnTo>
                <a:lnTo>
                  <a:pt x="3210" y="9349"/>
                </a:lnTo>
                <a:lnTo>
                  <a:pt x="3063" y="9038"/>
                </a:lnTo>
                <a:lnTo>
                  <a:pt x="2945" y="8714"/>
                </a:lnTo>
                <a:lnTo>
                  <a:pt x="2855" y="8377"/>
                </a:lnTo>
                <a:lnTo>
                  <a:pt x="2793" y="8028"/>
                </a:lnTo>
                <a:lnTo>
                  <a:pt x="2759" y="7666"/>
                </a:lnTo>
                <a:lnTo>
                  <a:pt x="2753" y="7292"/>
                </a:lnTo>
                <a:lnTo>
                  <a:pt x="2774" y="6907"/>
                </a:lnTo>
                <a:lnTo>
                  <a:pt x="2822" y="6510"/>
                </a:lnTo>
                <a:lnTo>
                  <a:pt x="2898" y="6103"/>
                </a:lnTo>
                <a:lnTo>
                  <a:pt x="1801" y="5865"/>
                </a:lnTo>
                <a:lnTo>
                  <a:pt x="1801" y="6048"/>
                </a:lnTo>
                <a:lnTo>
                  <a:pt x="1801" y="11985"/>
                </a:lnTo>
                <a:lnTo>
                  <a:pt x="1802" y="12211"/>
                </a:lnTo>
                <a:lnTo>
                  <a:pt x="1805" y="12263"/>
                </a:lnTo>
                <a:lnTo>
                  <a:pt x="1810" y="12312"/>
                </a:lnTo>
                <a:lnTo>
                  <a:pt x="1819" y="12357"/>
                </a:lnTo>
                <a:lnTo>
                  <a:pt x="1831" y="12398"/>
                </a:lnTo>
                <a:lnTo>
                  <a:pt x="1846" y="12436"/>
                </a:lnTo>
                <a:lnTo>
                  <a:pt x="1864" y="12470"/>
                </a:lnTo>
                <a:lnTo>
                  <a:pt x="1885" y="12501"/>
                </a:lnTo>
                <a:lnTo>
                  <a:pt x="1910" y="12529"/>
                </a:lnTo>
                <a:lnTo>
                  <a:pt x="1938" y="12553"/>
                </a:lnTo>
                <a:lnTo>
                  <a:pt x="1969" y="12574"/>
                </a:lnTo>
                <a:lnTo>
                  <a:pt x="2004" y="12592"/>
                </a:lnTo>
                <a:lnTo>
                  <a:pt x="2042" y="12606"/>
                </a:lnTo>
                <a:lnTo>
                  <a:pt x="2084" y="12618"/>
                </a:lnTo>
                <a:lnTo>
                  <a:pt x="2129" y="12627"/>
                </a:lnTo>
                <a:lnTo>
                  <a:pt x="2178" y="12632"/>
                </a:lnTo>
                <a:lnTo>
                  <a:pt x="2231" y="12635"/>
                </a:lnTo>
                <a:lnTo>
                  <a:pt x="2315" y="12636"/>
                </a:lnTo>
                <a:lnTo>
                  <a:pt x="12118" y="12635"/>
                </a:lnTo>
                <a:lnTo>
                  <a:pt x="12178" y="12634"/>
                </a:lnTo>
                <a:lnTo>
                  <a:pt x="12237" y="12630"/>
                </a:lnTo>
                <a:lnTo>
                  <a:pt x="12296" y="12624"/>
                </a:lnTo>
                <a:lnTo>
                  <a:pt x="12355" y="12615"/>
                </a:lnTo>
                <a:lnTo>
                  <a:pt x="12382" y="12609"/>
                </a:lnTo>
                <a:lnTo>
                  <a:pt x="12407" y="12602"/>
                </a:lnTo>
                <a:lnTo>
                  <a:pt x="12431" y="12593"/>
                </a:lnTo>
                <a:lnTo>
                  <a:pt x="12453" y="12583"/>
                </a:lnTo>
                <a:lnTo>
                  <a:pt x="12474" y="12572"/>
                </a:lnTo>
                <a:lnTo>
                  <a:pt x="12494" y="12559"/>
                </a:lnTo>
                <a:lnTo>
                  <a:pt x="12513" y="12544"/>
                </a:lnTo>
                <a:lnTo>
                  <a:pt x="12530" y="12528"/>
                </a:lnTo>
                <a:lnTo>
                  <a:pt x="12545" y="12511"/>
                </a:lnTo>
                <a:lnTo>
                  <a:pt x="12560" y="12493"/>
                </a:lnTo>
                <a:lnTo>
                  <a:pt x="12573" y="12473"/>
                </a:lnTo>
                <a:lnTo>
                  <a:pt x="12584" y="12451"/>
                </a:lnTo>
                <a:lnTo>
                  <a:pt x="12594" y="12429"/>
                </a:lnTo>
                <a:lnTo>
                  <a:pt x="12602" y="12405"/>
                </a:lnTo>
                <a:lnTo>
                  <a:pt x="12610" y="12380"/>
                </a:lnTo>
                <a:lnTo>
                  <a:pt x="12615" y="12353"/>
                </a:lnTo>
                <a:lnTo>
                  <a:pt x="12624" y="12298"/>
                </a:lnTo>
                <a:lnTo>
                  <a:pt x="12630" y="12242"/>
                </a:lnTo>
                <a:lnTo>
                  <a:pt x="12634" y="12186"/>
                </a:lnTo>
                <a:lnTo>
                  <a:pt x="12635" y="12130"/>
                </a:lnTo>
                <a:lnTo>
                  <a:pt x="12636" y="6023"/>
                </a:lnTo>
                <a:lnTo>
                  <a:pt x="12636" y="5865"/>
                </a:lnTo>
                <a:lnTo>
                  <a:pt x="11550" y="6105"/>
                </a:lnTo>
                <a:close/>
                <a:moveTo>
                  <a:pt x="7228" y="10019"/>
                </a:moveTo>
                <a:lnTo>
                  <a:pt x="7564" y="9978"/>
                </a:lnTo>
                <a:lnTo>
                  <a:pt x="7731" y="9954"/>
                </a:lnTo>
                <a:lnTo>
                  <a:pt x="7897" y="9923"/>
                </a:lnTo>
                <a:lnTo>
                  <a:pt x="8204" y="9839"/>
                </a:lnTo>
                <a:lnTo>
                  <a:pt x="8493" y="9724"/>
                </a:lnTo>
                <a:lnTo>
                  <a:pt x="8762" y="9581"/>
                </a:lnTo>
                <a:lnTo>
                  <a:pt x="9011" y="9412"/>
                </a:lnTo>
                <a:lnTo>
                  <a:pt x="9239" y="9220"/>
                </a:lnTo>
                <a:lnTo>
                  <a:pt x="9443" y="9007"/>
                </a:lnTo>
                <a:lnTo>
                  <a:pt x="9624" y="8775"/>
                </a:lnTo>
                <a:lnTo>
                  <a:pt x="9779" y="8526"/>
                </a:lnTo>
                <a:lnTo>
                  <a:pt x="9907" y="8263"/>
                </a:lnTo>
                <a:lnTo>
                  <a:pt x="10007" y="7988"/>
                </a:lnTo>
                <a:lnTo>
                  <a:pt x="10078" y="7704"/>
                </a:lnTo>
                <a:lnTo>
                  <a:pt x="10119" y="7412"/>
                </a:lnTo>
                <a:lnTo>
                  <a:pt x="10128" y="7115"/>
                </a:lnTo>
                <a:lnTo>
                  <a:pt x="10103" y="6816"/>
                </a:lnTo>
                <a:lnTo>
                  <a:pt x="10045" y="6516"/>
                </a:lnTo>
                <a:lnTo>
                  <a:pt x="9950" y="6218"/>
                </a:lnTo>
                <a:lnTo>
                  <a:pt x="9837" y="5959"/>
                </a:lnTo>
                <a:lnTo>
                  <a:pt x="9700" y="5717"/>
                </a:lnTo>
                <a:lnTo>
                  <a:pt x="9541" y="5493"/>
                </a:lnTo>
                <a:lnTo>
                  <a:pt x="9363" y="5286"/>
                </a:lnTo>
                <a:lnTo>
                  <a:pt x="9166" y="5099"/>
                </a:lnTo>
                <a:lnTo>
                  <a:pt x="8952" y="4931"/>
                </a:lnTo>
                <a:lnTo>
                  <a:pt x="8724" y="4784"/>
                </a:lnTo>
                <a:lnTo>
                  <a:pt x="8484" y="4658"/>
                </a:lnTo>
                <a:lnTo>
                  <a:pt x="8232" y="4555"/>
                </a:lnTo>
                <a:lnTo>
                  <a:pt x="7970" y="4475"/>
                </a:lnTo>
                <a:lnTo>
                  <a:pt x="7702" y="4419"/>
                </a:lnTo>
                <a:lnTo>
                  <a:pt x="7428" y="4387"/>
                </a:lnTo>
                <a:lnTo>
                  <a:pt x="7149" y="4381"/>
                </a:lnTo>
                <a:lnTo>
                  <a:pt x="6869" y="4402"/>
                </a:lnTo>
                <a:lnTo>
                  <a:pt x="6589" y="4450"/>
                </a:lnTo>
                <a:lnTo>
                  <a:pt x="6310" y="4526"/>
                </a:lnTo>
                <a:lnTo>
                  <a:pt x="6052" y="4623"/>
                </a:lnTo>
                <a:lnTo>
                  <a:pt x="5809" y="4741"/>
                </a:lnTo>
                <a:lnTo>
                  <a:pt x="5582" y="4878"/>
                </a:lnTo>
                <a:lnTo>
                  <a:pt x="5371" y="5033"/>
                </a:lnTo>
                <a:lnTo>
                  <a:pt x="5177" y="5205"/>
                </a:lnTo>
                <a:lnTo>
                  <a:pt x="5001" y="5392"/>
                </a:lnTo>
                <a:lnTo>
                  <a:pt x="4844" y="5593"/>
                </a:lnTo>
                <a:lnTo>
                  <a:pt x="4706" y="5807"/>
                </a:lnTo>
                <a:lnTo>
                  <a:pt x="4588" y="6032"/>
                </a:lnTo>
                <a:lnTo>
                  <a:pt x="4492" y="6267"/>
                </a:lnTo>
                <a:lnTo>
                  <a:pt x="4417" y="6510"/>
                </a:lnTo>
                <a:lnTo>
                  <a:pt x="4365" y="6761"/>
                </a:lnTo>
                <a:lnTo>
                  <a:pt x="4336" y="7017"/>
                </a:lnTo>
                <a:lnTo>
                  <a:pt x="4332" y="7278"/>
                </a:lnTo>
                <a:lnTo>
                  <a:pt x="4352" y="7542"/>
                </a:lnTo>
                <a:lnTo>
                  <a:pt x="4399" y="7807"/>
                </a:lnTo>
                <a:lnTo>
                  <a:pt x="4462" y="8041"/>
                </a:lnTo>
                <a:lnTo>
                  <a:pt x="4546" y="8266"/>
                </a:lnTo>
                <a:lnTo>
                  <a:pt x="4649" y="8481"/>
                </a:lnTo>
                <a:lnTo>
                  <a:pt x="4771" y="8686"/>
                </a:lnTo>
                <a:lnTo>
                  <a:pt x="4909" y="8879"/>
                </a:lnTo>
                <a:lnTo>
                  <a:pt x="5062" y="9060"/>
                </a:lnTo>
                <a:lnTo>
                  <a:pt x="5231" y="9228"/>
                </a:lnTo>
                <a:lnTo>
                  <a:pt x="5413" y="9382"/>
                </a:lnTo>
                <a:lnTo>
                  <a:pt x="5608" y="9522"/>
                </a:lnTo>
                <a:lnTo>
                  <a:pt x="5814" y="9646"/>
                </a:lnTo>
                <a:lnTo>
                  <a:pt x="6030" y="9754"/>
                </a:lnTo>
                <a:lnTo>
                  <a:pt x="6256" y="9845"/>
                </a:lnTo>
                <a:lnTo>
                  <a:pt x="6490" y="9918"/>
                </a:lnTo>
                <a:lnTo>
                  <a:pt x="6730" y="9971"/>
                </a:lnTo>
                <a:lnTo>
                  <a:pt x="6977" y="10006"/>
                </a:lnTo>
                <a:lnTo>
                  <a:pt x="7228" y="10019"/>
                </a:lnTo>
                <a:close/>
                <a:moveTo>
                  <a:pt x="9927" y="3148"/>
                </a:moveTo>
                <a:lnTo>
                  <a:pt x="9927" y="4036"/>
                </a:lnTo>
                <a:lnTo>
                  <a:pt x="9930" y="4087"/>
                </a:lnTo>
                <a:lnTo>
                  <a:pt x="9936" y="4137"/>
                </a:lnTo>
                <a:lnTo>
                  <a:pt x="9947" y="4184"/>
                </a:lnTo>
                <a:lnTo>
                  <a:pt x="9962" y="4228"/>
                </a:lnTo>
                <a:lnTo>
                  <a:pt x="9980" y="4270"/>
                </a:lnTo>
                <a:lnTo>
                  <a:pt x="10002" y="4309"/>
                </a:lnTo>
                <a:lnTo>
                  <a:pt x="10028" y="4345"/>
                </a:lnTo>
                <a:lnTo>
                  <a:pt x="10056" y="4378"/>
                </a:lnTo>
                <a:lnTo>
                  <a:pt x="10089" y="4407"/>
                </a:lnTo>
                <a:lnTo>
                  <a:pt x="10124" y="4433"/>
                </a:lnTo>
                <a:lnTo>
                  <a:pt x="10162" y="4455"/>
                </a:lnTo>
                <a:lnTo>
                  <a:pt x="10203" y="4474"/>
                </a:lnTo>
                <a:lnTo>
                  <a:pt x="10247" y="4489"/>
                </a:lnTo>
                <a:lnTo>
                  <a:pt x="10293" y="4500"/>
                </a:lnTo>
                <a:lnTo>
                  <a:pt x="10342" y="4506"/>
                </a:lnTo>
                <a:lnTo>
                  <a:pt x="10393" y="4509"/>
                </a:lnTo>
                <a:lnTo>
                  <a:pt x="12168" y="4509"/>
                </a:lnTo>
                <a:lnTo>
                  <a:pt x="12219" y="4506"/>
                </a:lnTo>
                <a:lnTo>
                  <a:pt x="12268" y="4500"/>
                </a:lnTo>
                <a:lnTo>
                  <a:pt x="12315" y="4489"/>
                </a:lnTo>
                <a:lnTo>
                  <a:pt x="12359" y="4474"/>
                </a:lnTo>
                <a:lnTo>
                  <a:pt x="12400" y="4455"/>
                </a:lnTo>
                <a:lnTo>
                  <a:pt x="12438" y="4433"/>
                </a:lnTo>
                <a:lnTo>
                  <a:pt x="12474" y="4407"/>
                </a:lnTo>
                <a:lnTo>
                  <a:pt x="12506" y="4378"/>
                </a:lnTo>
                <a:lnTo>
                  <a:pt x="12535" y="4345"/>
                </a:lnTo>
                <a:lnTo>
                  <a:pt x="12560" y="4309"/>
                </a:lnTo>
                <a:lnTo>
                  <a:pt x="12583" y="4270"/>
                </a:lnTo>
                <a:lnTo>
                  <a:pt x="12601" y="4229"/>
                </a:lnTo>
                <a:lnTo>
                  <a:pt x="12616" y="4185"/>
                </a:lnTo>
                <a:lnTo>
                  <a:pt x="12626" y="4138"/>
                </a:lnTo>
                <a:lnTo>
                  <a:pt x="12633" y="4088"/>
                </a:lnTo>
                <a:lnTo>
                  <a:pt x="12635" y="4037"/>
                </a:lnTo>
                <a:lnTo>
                  <a:pt x="12635" y="2275"/>
                </a:lnTo>
                <a:lnTo>
                  <a:pt x="12633" y="2222"/>
                </a:lnTo>
                <a:lnTo>
                  <a:pt x="12626" y="2172"/>
                </a:lnTo>
                <a:lnTo>
                  <a:pt x="12615" y="2124"/>
                </a:lnTo>
                <a:lnTo>
                  <a:pt x="12601" y="2080"/>
                </a:lnTo>
                <a:lnTo>
                  <a:pt x="12582" y="2038"/>
                </a:lnTo>
                <a:lnTo>
                  <a:pt x="12560" y="1999"/>
                </a:lnTo>
                <a:lnTo>
                  <a:pt x="12533" y="1963"/>
                </a:lnTo>
                <a:lnTo>
                  <a:pt x="12504" y="1931"/>
                </a:lnTo>
                <a:lnTo>
                  <a:pt x="12471" y="1902"/>
                </a:lnTo>
                <a:lnTo>
                  <a:pt x="12435" y="1876"/>
                </a:lnTo>
                <a:lnTo>
                  <a:pt x="12395" y="1854"/>
                </a:lnTo>
                <a:lnTo>
                  <a:pt x="12353" y="1836"/>
                </a:lnTo>
                <a:lnTo>
                  <a:pt x="12307" y="1821"/>
                </a:lnTo>
                <a:lnTo>
                  <a:pt x="12259" y="1811"/>
                </a:lnTo>
                <a:lnTo>
                  <a:pt x="12208" y="1804"/>
                </a:lnTo>
                <a:lnTo>
                  <a:pt x="12155" y="1802"/>
                </a:lnTo>
                <a:lnTo>
                  <a:pt x="10408" y="1802"/>
                </a:lnTo>
                <a:lnTo>
                  <a:pt x="10354" y="1804"/>
                </a:lnTo>
                <a:lnTo>
                  <a:pt x="10302" y="1811"/>
                </a:lnTo>
                <a:lnTo>
                  <a:pt x="10254" y="1821"/>
                </a:lnTo>
                <a:lnTo>
                  <a:pt x="10208" y="1836"/>
                </a:lnTo>
                <a:lnTo>
                  <a:pt x="10166" y="1855"/>
                </a:lnTo>
                <a:lnTo>
                  <a:pt x="10126" y="1877"/>
                </a:lnTo>
                <a:lnTo>
                  <a:pt x="10090" y="1903"/>
                </a:lnTo>
                <a:lnTo>
                  <a:pt x="10057" y="1933"/>
                </a:lnTo>
                <a:lnTo>
                  <a:pt x="10028" y="1966"/>
                </a:lnTo>
                <a:lnTo>
                  <a:pt x="10002" y="2003"/>
                </a:lnTo>
                <a:lnTo>
                  <a:pt x="9980" y="2043"/>
                </a:lnTo>
                <a:lnTo>
                  <a:pt x="9962" y="2086"/>
                </a:lnTo>
                <a:lnTo>
                  <a:pt x="9947" y="2132"/>
                </a:lnTo>
                <a:lnTo>
                  <a:pt x="9936" y="2182"/>
                </a:lnTo>
                <a:lnTo>
                  <a:pt x="9930" y="2234"/>
                </a:lnTo>
                <a:lnTo>
                  <a:pt x="9927" y="2289"/>
                </a:lnTo>
                <a:lnTo>
                  <a:pt x="9927" y="3148"/>
                </a:lnTo>
                <a:close/>
              </a:path>
            </a:pathLst>
          </a:custGeom>
          <a:solidFill>
            <a:srgbClr val="123563"/>
          </a:solidFill>
          <a:ln>
            <a:noFill/>
          </a:ln>
          <a:effectLst/>
        </p:spPr>
        <p:txBody>
          <a:bodyPr wrap="none" anchor="ctr"/>
          <a:lstStyle/>
          <a:p>
            <a:endParaRPr lang="de-DE" sz="1800" dirty="0">
              <a:latin typeface="BISansOpti"/>
            </a:endParaRP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0" hasCustomPrompt="1"/>
          </p:nvPr>
        </p:nvSpPr>
        <p:spPr>
          <a:xfrm>
            <a:off x="9441600" y="345600"/>
            <a:ext cx="2304000" cy="4800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1" i="0" baseline="0">
                <a:solidFill>
                  <a:schemeClr val="accent1"/>
                </a:solidFill>
                <a:latin typeface="BISansOpti"/>
                <a:cs typeface="BISansOpti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sz="1000" b="1" dirty="0">
                <a:solidFill>
                  <a:srgbClr val="123563"/>
                </a:solidFill>
              </a:rPr>
              <a:t>Company Name</a:t>
            </a:r>
          </a:p>
          <a:p>
            <a:pPr lvl="0"/>
            <a:endParaRPr lang="de-DE" dirty="0"/>
          </a:p>
        </p:txBody>
      </p:sp>
      <p:sp>
        <p:nvSpPr>
          <p:cNvPr id="25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9441600" y="951208"/>
            <a:ext cx="2304000" cy="2064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i="0" baseline="0">
                <a:solidFill>
                  <a:schemeClr val="accent1"/>
                </a:solidFill>
                <a:latin typeface="BISansOpti"/>
                <a:cs typeface="BISansOpti"/>
              </a:defRPr>
            </a:lvl1pPr>
          </a:lstStyle>
          <a:p>
            <a:pPr lvl="0"/>
            <a:r>
              <a:rPr lang="de-DE" dirty="0"/>
              <a:t>Street / No.</a:t>
            </a:r>
          </a:p>
        </p:txBody>
      </p:sp>
      <p:sp>
        <p:nvSpPr>
          <p:cNvPr id="26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9441600" y="1161575"/>
            <a:ext cx="2304000" cy="2064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i="0" baseline="0">
                <a:solidFill>
                  <a:schemeClr val="accent1"/>
                </a:solidFill>
                <a:latin typeface="BISansOpti"/>
                <a:cs typeface="BISansOpti"/>
              </a:defRPr>
            </a:lvl1pPr>
          </a:lstStyle>
          <a:p>
            <a:pPr lvl="0"/>
            <a:r>
              <a:rPr lang="de-DE" dirty="0"/>
              <a:t>Postcode/ Town</a:t>
            </a:r>
          </a:p>
        </p:txBody>
      </p:sp>
      <p:sp>
        <p:nvSpPr>
          <p:cNvPr id="27" name="Textplatzhalter 6"/>
          <p:cNvSpPr>
            <a:spLocks noGrp="1"/>
          </p:cNvSpPr>
          <p:nvPr>
            <p:ph type="body" sz="quarter" idx="14" hasCustomPrompt="1"/>
          </p:nvPr>
        </p:nvSpPr>
        <p:spPr>
          <a:xfrm>
            <a:off x="9921600" y="1463708"/>
            <a:ext cx="1824000" cy="2064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i="0" baseline="0">
                <a:solidFill>
                  <a:schemeClr val="accent1"/>
                </a:solidFill>
                <a:latin typeface="BISansOpti"/>
                <a:cs typeface="BISansOpti"/>
              </a:defRPr>
            </a:lvl1pPr>
          </a:lstStyle>
          <a:p>
            <a:pPr lvl="0"/>
            <a:r>
              <a:rPr lang="de-DE" dirty="0"/>
              <a:t>Telephone number</a:t>
            </a:r>
          </a:p>
        </p:txBody>
      </p:sp>
      <p:sp>
        <p:nvSpPr>
          <p:cNvPr id="19" name="Textfeld 18"/>
          <p:cNvSpPr txBox="1"/>
          <p:nvPr userDrawn="1"/>
        </p:nvSpPr>
        <p:spPr>
          <a:xfrm>
            <a:off x="9441600" y="1463708"/>
            <a:ext cx="197170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sz="1000" dirty="0">
                <a:solidFill>
                  <a:srgbClr val="003366"/>
                </a:solidFill>
                <a:latin typeface="BISansOpti"/>
                <a:cs typeface="BISansOpti"/>
              </a:rPr>
              <a:t>Tel:</a:t>
            </a:r>
          </a:p>
        </p:txBody>
      </p:sp>
      <p:sp>
        <p:nvSpPr>
          <p:cNvPr id="28" name="Textplatzhalter 6"/>
          <p:cNvSpPr>
            <a:spLocks noGrp="1"/>
          </p:cNvSpPr>
          <p:nvPr>
            <p:ph type="body" sz="quarter" idx="15" hasCustomPrompt="1"/>
          </p:nvPr>
        </p:nvSpPr>
        <p:spPr>
          <a:xfrm>
            <a:off x="9921600" y="1675200"/>
            <a:ext cx="1824000" cy="2064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i="0" baseline="0">
                <a:solidFill>
                  <a:schemeClr val="accent1"/>
                </a:solidFill>
                <a:latin typeface="BISansOpti"/>
                <a:cs typeface="BISansOpti"/>
              </a:defRPr>
            </a:lvl1pPr>
          </a:lstStyle>
          <a:p>
            <a:pPr lvl="0"/>
            <a:r>
              <a:rPr lang="de-DE" dirty="0"/>
              <a:t>fax machine</a:t>
            </a:r>
          </a:p>
        </p:txBody>
      </p:sp>
      <p:sp>
        <p:nvSpPr>
          <p:cNvPr id="29" name="Textfeld 28"/>
          <p:cNvSpPr txBox="1"/>
          <p:nvPr userDrawn="1"/>
        </p:nvSpPr>
        <p:spPr>
          <a:xfrm>
            <a:off x="9441600" y="1675200"/>
            <a:ext cx="219612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sz="1000" dirty="0">
                <a:solidFill>
                  <a:srgbClr val="003366"/>
                </a:solidFill>
                <a:latin typeface="BISansOpti"/>
                <a:cs typeface="BISansOpti"/>
              </a:rPr>
              <a:t>Fax:</a:t>
            </a:r>
          </a:p>
        </p:txBody>
      </p:sp>
      <p:sp>
        <p:nvSpPr>
          <p:cNvPr id="30" name="Textplatzhalter 6"/>
          <p:cNvSpPr>
            <a:spLocks noGrp="1"/>
          </p:cNvSpPr>
          <p:nvPr>
            <p:ph type="body" sz="quarter" idx="16" hasCustomPrompt="1"/>
          </p:nvPr>
        </p:nvSpPr>
        <p:spPr>
          <a:xfrm>
            <a:off x="9441600" y="1971975"/>
            <a:ext cx="2304000" cy="2064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i="0" baseline="0">
                <a:solidFill>
                  <a:schemeClr val="accent1"/>
                </a:solidFill>
                <a:latin typeface="BISansOpti"/>
                <a:cs typeface="BISansOpti"/>
              </a:defRPr>
            </a:lvl1pPr>
          </a:lstStyle>
          <a:p>
            <a:pPr lvl="0"/>
            <a:r>
              <a:rPr lang="de-DE" dirty="0"/>
              <a:t>Email-address</a:t>
            </a:r>
          </a:p>
        </p:txBody>
      </p:sp>
      <p:sp>
        <p:nvSpPr>
          <p:cNvPr id="31" name="Textplatzhalter 6"/>
          <p:cNvSpPr>
            <a:spLocks noGrp="1"/>
          </p:cNvSpPr>
          <p:nvPr>
            <p:ph type="body" sz="quarter" idx="17" hasCustomPrompt="1"/>
          </p:nvPr>
        </p:nvSpPr>
        <p:spPr>
          <a:xfrm>
            <a:off x="9441600" y="2184000"/>
            <a:ext cx="2304000" cy="2064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i="0" baseline="0">
                <a:solidFill>
                  <a:schemeClr val="accent1"/>
                </a:solidFill>
                <a:latin typeface="BISansOpti"/>
                <a:cs typeface="BISansOpti"/>
              </a:defRPr>
            </a:lvl1pPr>
          </a:lstStyle>
          <a:p>
            <a:pPr lvl="0"/>
            <a:r>
              <a:rPr lang="de-DE" dirty="0"/>
              <a:t>Website</a:t>
            </a:r>
          </a:p>
        </p:txBody>
      </p:sp>
      <p:sp>
        <p:nvSpPr>
          <p:cNvPr id="21" name="Textplatzhalter 20"/>
          <p:cNvSpPr>
            <a:spLocks noGrp="1"/>
          </p:cNvSpPr>
          <p:nvPr>
            <p:ph type="body" sz="quarter" idx="18" hasCustomPrompt="1"/>
          </p:nvPr>
        </p:nvSpPr>
        <p:spPr>
          <a:xfrm>
            <a:off x="489600" y="2760002"/>
            <a:ext cx="7166400" cy="472017"/>
          </a:xfrm>
        </p:spPr>
        <p:txBody>
          <a:bodyPr/>
          <a:lstStyle>
            <a:lvl1pPr marL="0" indent="0">
              <a:buNone/>
              <a:defRPr baseline="0">
                <a:solidFill>
                  <a:srgbClr val="003366"/>
                </a:solidFill>
                <a:latin typeface="BISansOpti"/>
                <a:cs typeface="BISansOpti"/>
              </a:defRPr>
            </a:lvl1pPr>
          </a:lstStyle>
          <a:p>
            <a:pPr lvl="0"/>
            <a:r>
              <a:rPr lang="en-GB" noProof="0" dirty="0"/>
              <a:t>Headline for further information:</a:t>
            </a:r>
          </a:p>
        </p:txBody>
      </p:sp>
      <p:sp>
        <p:nvSpPr>
          <p:cNvPr id="33" name="Textplatzhalter 20"/>
          <p:cNvSpPr>
            <a:spLocks noGrp="1"/>
          </p:cNvSpPr>
          <p:nvPr>
            <p:ph type="body" sz="quarter" idx="19" hasCustomPrompt="1"/>
          </p:nvPr>
        </p:nvSpPr>
        <p:spPr>
          <a:xfrm>
            <a:off x="489600" y="3233728"/>
            <a:ext cx="7166400" cy="18816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800" baseline="0">
                <a:solidFill>
                  <a:schemeClr val="accent2"/>
                </a:solidFill>
                <a:latin typeface="BISansOpti"/>
                <a:cs typeface="BISansOpti"/>
              </a:defRPr>
            </a:lvl1pPr>
          </a:lstStyle>
          <a:p>
            <a:pPr lvl="0"/>
            <a:r>
              <a:rPr lang="en-GB" noProof="0"/>
              <a:t>Insert your domains here</a:t>
            </a:r>
          </a:p>
        </p:txBody>
      </p:sp>
      <p:pic>
        <p:nvPicPr>
          <p:cNvPr id="32" name="Grafik 2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26261" y="5889117"/>
            <a:ext cx="1679601" cy="508800"/>
          </a:xfrm>
          <a:prstGeom prst="rect">
            <a:avLst/>
          </a:prstGeom>
        </p:spPr>
      </p:pic>
      <p:sp>
        <p:nvSpPr>
          <p:cNvPr id="3" name="Textplatzhalter 2"/>
          <p:cNvSpPr>
            <a:spLocks noGrp="1"/>
          </p:cNvSpPr>
          <p:nvPr>
            <p:ph type="body" sz="quarter" idx="20" hasCustomPrompt="1"/>
          </p:nvPr>
        </p:nvSpPr>
        <p:spPr>
          <a:xfrm>
            <a:off x="489600" y="5519157"/>
            <a:ext cx="6168000" cy="820737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000">
                <a:solidFill>
                  <a:srgbClr val="1F497D"/>
                </a:solidFill>
              </a:defRPr>
            </a:lvl1pPr>
            <a:lvl2pPr marL="266700" indent="0">
              <a:buNone/>
              <a:defRPr sz="1000">
                <a:solidFill>
                  <a:srgbClr val="1F497D"/>
                </a:solidFill>
              </a:defRPr>
            </a:lvl2pPr>
            <a:lvl3pPr marL="450850" indent="0">
              <a:buNone/>
              <a:defRPr sz="1000">
                <a:solidFill>
                  <a:srgbClr val="1F497D"/>
                </a:solidFill>
              </a:defRPr>
            </a:lvl3pPr>
            <a:lvl4pPr marL="628650" indent="0">
              <a:buNone/>
              <a:defRPr sz="1000">
                <a:solidFill>
                  <a:srgbClr val="1F497D"/>
                </a:solidFill>
              </a:defRPr>
            </a:lvl4pPr>
            <a:lvl5pPr marL="806450" indent="0">
              <a:buNone/>
              <a:defRPr sz="1000">
                <a:solidFill>
                  <a:srgbClr val="1F497D"/>
                </a:solidFill>
              </a:defRPr>
            </a:lvl5pPr>
          </a:lstStyle>
          <a:p>
            <a:pPr algn="just"/>
            <a:r>
              <a:rPr lang="en-GB" sz="1000" noProof="0" dirty="0">
                <a:solidFill>
                  <a:srgbClr val="1F497D"/>
                </a:solidFill>
                <a:latin typeface="BISansOpti"/>
                <a:cs typeface="BISansOpti"/>
              </a:rPr>
              <a:t>Click to add copyright-text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21" hasCustomPrompt="1"/>
          </p:nvPr>
        </p:nvSpPr>
        <p:spPr>
          <a:xfrm>
            <a:off x="2291026" y="5314963"/>
            <a:ext cx="4366577" cy="153888"/>
          </a:xfrm>
        </p:spPr>
        <p:txBody>
          <a:bodyPr wrap="square">
            <a:spAutoFit/>
          </a:bodyPr>
          <a:lstStyle>
            <a:lvl1pPr marL="0" indent="0">
              <a:buNone/>
              <a:defRPr sz="1000">
                <a:solidFill>
                  <a:srgbClr val="1F497D"/>
                </a:solidFill>
              </a:defRPr>
            </a:lvl1pPr>
            <a:lvl2pPr marL="266700" indent="0">
              <a:buNone/>
              <a:defRPr sz="1000">
                <a:solidFill>
                  <a:srgbClr val="1F497D"/>
                </a:solidFill>
              </a:defRPr>
            </a:lvl2pPr>
            <a:lvl3pPr marL="450850" indent="0">
              <a:buNone/>
              <a:defRPr sz="1000">
                <a:solidFill>
                  <a:srgbClr val="1F497D"/>
                </a:solidFill>
              </a:defRPr>
            </a:lvl3pPr>
            <a:lvl4pPr marL="628650" indent="0">
              <a:buNone/>
              <a:defRPr sz="1000">
                <a:solidFill>
                  <a:srgbClr val="1F497D"/>
                </a:solidFill>
              </a:defRPr>
            </a:lvl4pPr>
            <a:lvl5pPr marL="806450" indent="0">
              <a:buNone/>
              <a:defRPr sz="1000">
                <a:solidFill>
                  <a:srgbClr val="1F497D"/>
                </a:solidFill>
              </a:defRPr>
            </a:lvl5pPr>
          </a:lstStyle>
          <a:p>
            <a:pPr lvl="0"/>
            <a:r>
              <a:rPr lang="en-GB" noProof="0" dirty="0"/>
              <a:t>Click to add year of copyright</a:t>
            </a:r>
          </a:p>
        </p:txBody>
      </p:sp>
    </p:spTree>
    <p:extLst>
      <p:ext uri="{BB962C8B-B14F-4D97-AF65-F5344CB8AC3E}">
        <p14:creationId xmlns:p14="http://schemas.microsoft.com/office/powerpoint/2010/main" val="39343133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chart germ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hteck 22"/>
          <p:cNvSpPr/>
          <p:nvPr userDrawn="1"/>
        </p:nvSpPr>
        <p:spPr>
          <a:xfrm>
            <a:off x="0" y="2928494"/>
            <a:ext cx="12192000" cy="3929507"/>
          </a:xfrm>
          <a:prstGeom prst="rect">
            <a:avLst/>
          </a:prstGeom>
          <a:gradFill>
            <a:gsLst>
              <a:gs pos="0">
                <a:srgbClr val="6699CC">
                  <a:alpha val="40000"/>
                </a:srgbClr>
              </a:gs>
              <a:gs pos="100000">
                <a:srgbClr val="FFFFFF"/>
              </a:gs>
            </a:gsLst>
            <a:lin ang="162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sz="1400" noProof="0" dirty="0">
              <a:solidFill>
                <a:schemeClr val="tx1"/>
              </a:solidFill>
              <a:latin typeface="BISansOpti"/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6231" t="19013" b="13976"/>
          <a:stretch/>
        </p:blipFill>
        <p:spPr bwMode="auto">
          <a:xfrm>
            <a:off x="0" y="0"/>
            <a:ext cx="8573053" cy="685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24" name="Gerade Verbindung 23"/>
          <p:cNvCxnSpPr/>
          <p:nvPr userDrawn="1"/>
        </p:nvCxnSpPr>
        <p:spPr>
          <a:xfrm>
            <a:off x="2" y="2492389"/>
            <a:ext cx="12191999" cy="0"/>
          </a:xfrm>
          <a:prstGeom prst="line">
            <a:avLst/>
          </a:prstGeom>
          <a:ln w="12700">
            <a:solidFill>
              <a:srgbClr val="0033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Gerade Verbindung 9"/>
          <p:cNvCxnSpPr/>
          <p:nvPr userDrawn="1"/>
        </p:nvCxnSpPr>
        <p:spPr>
          <a:xfrm>
            <a:off x="2" y="2492389"/>
            <a:ext cx="12191999" cy="0"/>
          </a:xfrm>
          <a:prstGeom prst="line">
            <a:avLst/>
          </a:prstGeom>
          <a:ln w="12700">
            <a:solidFill>
              <a:srgbClr val="0033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Freeform 1"/>
          <p:cNvSpPr>
            <a:spLocks noChangeAspect="1" noChangeArrowheads="1"/>
          </p:cNvSpPr>
          <p:nvPr userDrawn="1"/>
        </p:nvSpPr>
        <p:spPr bwMode="auto">
          <a:xfrm>
            <a:off x="490103" y="1644786"/>
            <a:ext cx="479996" cy="479996"/>
          </a:xfrm>
          <a:custGeom>
            <a:avLst/>
            <a:gdLst>
              <a:gd name="T0" fmla="*/ 19 w 14438"/>
              <a:gd name="T1" fmla="*/ 766 h 14438"/>
              <a:gd name="T2" fmla="*/ 35 w 14438"/>
              <a:gd name="T3" fmla="*/ 713 h 14438"/>
              <a:gd name="T4" fmla="*/ 95 w 14438"/>
              <a:gd name="T5" fmla="*/ 535 h 14438"/>
              <a:gd name="T6" fmla="*/ 182 w 14438"/>
              <a:gd name="T7" fmla="*/ 382 h 14438"/>
              <a:gd name="T8" fmla="*/ 295 w 14438"/>
              <a:gd name="T9" fmla="*/ 253 h 14438"/>
              <a:gd name="T10" fmla="*/ 434 w 14438"/>
              <a:gd name="T11" fmla="*/ 149 h 14438"/>
              <a:gd name="T12" fmla="*/ 598 w 14438"/>
              <a:gd name="T13" fmla="*/ 69 h 14438"/>
              <a:gd name="T14" fmla="*/ 13628 w 14438"/>
              <a:gd name="T15" fmla="*/ 0 h 14438"/>
              <a:gd name="T16" fmla="*/ 13675 w 14438"/>
              <a:gd name="T17" fmla="*/ 24 h 14438"/>
              <a:gd name="T18" fmla="*/ 13780 w 14438"/>
              <a:gd name="T19" fmla="*/ 53 h 14438"/>
              <a:gd name="T20" fmla="*/ 14011 w 14438"/>
              <a:gd name="T21" fmla="*/ 154 h 14438"/>
              <a:gd name="T22" fmla="*/ 14194 w 14438"/>
              <a:gd name="T23" fmla="*/ 297 h 14438"/>
              <a:gd name="T24" fmla="*/ 14328 w 14438"/>
              <a:gd name="T25" fmla="*/ 482 h 14438"/>
              <a:gd name="T26" fmla="*/ 14409 w 14438"/>
              <a:gd name="T27" fmla="*/ 706 h 14438"/>
              <a:gd name="T28" fmla="*/ 14437 w 14438"/>
              <a:gd name="T29" fmla="*/ 966 h 14438"/>
              <a:gd name="T30" fmla="*/ 14420 w 14438"/>
              <a:gd name="T31" fmla="*/ 13674 h 14438"/>
              <a:gd name="T32" fmla="*/ 14331 w 14438"/>
              <a:gd name="T33" fmla="*/ 13951 h 14438"/>
              <a:gd name="T34" fmla="*/ 14175 w 14438"/>
              <a:gd name="T35" fmla="*/ 14172 h 14438"/>
              <a:gd name="T36" fmla="*/ 13956 w 14438"/>
              <a:gd name="T37" fmla="*/ 14330 h 14438"/>
              <a:gd name="T38" fmla="*/ 13681 w 14438"/>
              <a:gd name="T39" fmla="*/ 14419 h 14438"/>
              <a:gd name="T40" fmla="*/ 10100 w 14438"/>
              <a:gd name="T41" fmla="*/ 14436 h 14438"/>
              <a:gd name="T42" fmla="*/ 9952 w 14438"/>
              <a:gd name="T43" fmla="*/ 14430 h 14438"/>
              <a:gd name="T44" fmla="*/ 11610 w 14438"/>
              <a:gd name="T45" fmla="*/ 9040 h 14438"/>
              <a:gd name="T46" fmla="*/ 11676 w 14438"/>
              <a:gd name="T47" fmla="*/ 9035 h 14438"/>
              <a:gd name="T48" fmla="*/ 11714 w 14438"/>
              <a:gd name="T49" fmla="*/ 9022 h 14438"/>
              <a:gd name="T50" fmla="*/ 11742 w 14438"/>
              <a:gd name="T51" fmla="*/ 8998 h 14438"/>
              <a:gd name="T52" fmla="*/ 11764 w 14438"/>
              <a:gd name="T53" fmla="*/ 8961 h 14438"/>
              <a:gd name="T54" fmla="*/ 11778 w 14438"/>
              <a:gd name="T55" fmla="*/ 8907 h 14438"/>
              <a:gd name="T56" fmla="*/ 9941 w 14438"/>
              <a:gd name="T57" fmla="*/ 6760 h 14438"/>
              <a:gd name="T58" fmla="*/ 9960 w 14438"/>
              <a:gd name="T59" fmla="*/ 5621 h 14438"/>
              <a:gd name="T60" fmla="*/ 10017 w 14438"/>
              <a:gd name="T61" fmla="*/ 5333 h 14438"/>
              <a:gd name="T62" fmla="*/ 10120 w 14438"/>
              <a:gd name="T63" fmla="*/ 5080 h 14438"/>
              <a:gd name="T64" fmla="*/ 10272 w 14438"/>
              <a:gd name="T65" fmla="*/ 4871 h 14438"/>
              <a:gd name="T66" fmla="*/ 10468 w 14438"/>
              <a:gd name="T67" fmla="*/ 4711 h 14438"/>
              <a:gd name="T68" fmla="*/ 10705 w 14438"/>
              <a:gd name="T69" fmla="*/ 4604 h 14438"/>
              <a:gd name="T70" fmla="*/ 10979 w 14438"/>
              <a:gd name="T71" fmla="*/ 4553 h 14438"/>
              <a:gd name="T72" fmla="*/ 11951 w 14438"/>
              <a:gd name="T73" fmla="*/ 4524 h 14438"/>
              <a:gd name="T74" fmla="*/ 12121 w 14438"/>
              <a:gd name="T75" fmla="*/ 2250 h 14438"/>
              <a:gd name="T76" fmla="*/ 10259 w 14438"/>
              <a:gd name="T77" fmla="*/ 2251 h 14438"/>
              <a:gd name="T78" fmla="*/ 9557 w 14438"/>
              <a:gd name="T79" fmla="*/ 2358 h 14438"/>
              <a:gd name="T80" fmla="*/ 8930 w 14438"/>
              <a:gd name="T81" fmla="*/ 2653 h 14438"/>
              <a:gd name="T82" fmla="*/ 8449 w 14438"/>
              <a:gd name="T83" fmla="*/ 3073 h 14438"/>
              <a:gd name="T84" fmla="*/ 8169 w 14438"/>
              <a:gd name="T85" fmla="*/ 3441 h 14438"/>
              <a:gd name="T86" fmla="*/ 7901 w 14438"/>
              <a:gd name="T87" fmla="*/ 3976 h 14438"/>
              <a:gd name="T88" fmla="*/ 7695 w 14438"/>
              <a:gd name="T89" fmla="*/ 4854 h 14438"/>
              <a:gd name="T90" fmla="*/ 7660 w 14438"/>
              <a:gd name="T91" fmla="*/ 5883 h 14438"/>
              <a:gd name="T92" fmla="*/ 5871 w 14438"/>
              <a:gd name="T93" fmla="*/ 6766 h 14438"/>
              <a:gd name="T94" fmla="*/ 7656 w 14438"/>
              <a:gd name="T95" fmla="*/ 14428 h 14438"/>
              <a:gd name="T96" fmla="*/ 7590 w 14438"/>
              <a:gd name="T97" fmla="*/ 14436 h 14438"/>
              <a:gd name="T98" fmla="*/ 820 w 14438"/>
              <a:gd name="T99" fmla="*/ 14431 h 14438"/>
              <a:gd name="T100" fmla="*/ 608 w 14438"/>
              <a:gd name="T101" fmla="*/ 14386 h 14438"/>
              <a:gd name="T102" fmla="*/ 418 w 14438"/>
              <a:gd name="T103" fmla="*/ 14292 h 14438"/>
              <a:gd name="T104" fmla="*/ 257 w 14438"/>
              <a:gd name="T105" fmla="*/ 14157 h 14438"/>
              <a:gd name="T106" fmla="*/ 132 w 14438"/>
              <a:gd name="T107" fmla="*/ 13987 h 14438"/>
              <a:gd name="T108" fmla="*/ 48 w 14438"/>
              <a:gd name="T109" fmla="*/ 13788 h 144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14438" h="14438">
                <a:moveTo>
                  <a:pt x="0" y="13628"/>
                </a:moveTo>
                <a:lnTo>
                  <a:pt x="0" y="818"/>
                </a:lnTo>
                <a:lnTo>
                  <a:pt x="19" y="766"/>
                </a:lnTo>
                <a:lnTo>
                  <a:pt x="28" y="740"/>
                </a:lnTo>
                <a:lnTo>
                  <a:pt x="32" y="726"/>
                </a:lnTo>
                <a:lnTo>
                  <a:pt x="35" y="713"/>
                </a:lnTo>
                <a:lnTo>
                  <a:pt x="52" y="651"/>
                </a:lnTo>
                <a:lnTo>
                  <a:pt x="72" y="591"/>
                </a:lnTo>
                <a:lnTo>
                  <a:pt x="95" y="535"/>
                </a:lnTo>
                <a:lnTo>
                  <a:pt x="122" y="481"/>
                </a:lnTo>
                <a:lnTo>
                  <a:pt x="150" y="430"/>
                </a:lnTo>
                <a:lnTo>
                  <a:pt x="182" y="382"/>
                </a:lnTo>
                <a:lnTo>
                  <a:pt x="217" y="336"/>
                </a:lnTo>
                <a:lnTo>
                  <a:pt x="255" y="293"/>
                </a:lnTo>
                <a:lnTo>
                  <a:pt x="295" y="253"/>
                </a:lnTo>
                <a:lnTo>
                  <a:pt x="339" y="216"/>
                </a:lnTo>
                <a:lnTo>
                  <a:pt x="385" y="181"/>
                </a:lnTo>
                <a:lnTo>
                  <a:pt x="434" y="149"/>
                </a:lnTo>
                <a:lnTo>
                  <a:pt x="486" y="120"/>
                </a:lnTo>
                <a:lnTo>
                  <a:pt x="541" y="93"/>
                </a:lnTo>
                <a:lnTo>
                  <a:pt x="598" y="69"/>
                </a:lnTo>
                <a:lnTo>
                  <a:pt x="659" y="48"/>
                </a:lnTo>
                <a:lnTo>
                  <a:pt x="818" y="0"/>
                </a:lnTo>
                <a:lnTo>
                  <a:pt x="13628" y="0"/>
                </a:lnTo>
                <a:lnTo>
                  <a:pt x="13659" y="16"/>
                </a:lnTo>
                <a:lnTo>
                  <a:pt x="13667" y="20"/>
                </a:lnTo>
                <a:lnTo>
                  <a:pt x="13675" y="24"/>
                </a:lnTo>
                <a:lnTo>
                  <a:pt x="13684" y="27"/>
                </a:lnTo>
                <a:lnTo>
                  <a:pt x="13692" y="29"/>
                </a:lnTo>
                <a:lnTo>
                  <a:pt x="13780" y="53"/>
                </a:lnTo>
                <a:lnTo>
                  <a:pt x="13862" y="81"/>
                </a:lnTo>
                <a:lnTo>
                  <a:pt x="13939" y="115"/>
                </a:lnTo>
                <a:lnTo>
                  <a:pt x="14011" y="154"/>
                </a:lnTo>
                <a:lnTo>
                  <a:pt x="14078" y="197"/>
                </a:lnTo>
                <a:lnTo>
                  <a:pt x="14139" y="245"/>
                </a:lnTo>
                <a:lnTo>
                  <a:pt x="14194" y="297"/>
                </a:lnTo>
                <a:lnTo>
                  <a:pt x="14245" y="355"/>
                </a:lnTo>
                <a:lnTo>
                  <a:pt x="14289" y="416"/>
                </a:lnTo>
                <a:lnTo>
                  <a:pt x="14328" y="482"/>
                </a:lnTo>
                <a:lnTo>
                  <a:pt x="14361" y="553"/>
                </a:lnTo>
                <a:lnTo>
                  <a:pt x="14388" y="627"/>
                </a:lnTo>
                <a:lnTo>
                  <a:pt x="14409" y="706"/>
                </a:lnTo>
                <a:lnTo>
                  <a:pt x="14425" y="788"/>
                </a:lnTo>
                <a:lnTo>
                  <a:pt x="14434" y="875"/>
                </a:lnTo>
                <a:lnTo>
                  <a:pt x="14437" y="966"/>
                </a:lnTo>
                <a:lnTo>
                  <a:pt x="14437" y="13462"/>
                </a:lnTo>
                <a:lnTo>
                  <a:pt x="14433" y="13571"/>
                </a:lnTo>
                <a:lnTo>
                  <a:pt x="14420" y="13674"/>
                </a:lnTo>
                <a:lnTo>
                  <a:pt x="14398" y="13772"/>
                </a:lnTo>
                <a:lnTo>
                  <a:pt x="14369" y="13864"/>
                </a:lnTo>
                <a:lnTo>
                  <a:pt x="14331" y="13951"/>
                </a:lnTo>
                <a:lnTo>
                  <a:pt x="14286" y="14031"/>
                </a:lnTo>
                <a:lnTo>
                  <a:pt x="14234" y="14105"/>
                </a:lnTo>
                <a:lnTo>
                  <a:pt x="14175" y="14172"/>
                </a:lnTo>
                <a:lnTo>
                  <a:pt x="14108" y="14232"/>
                </a:lnTo>
                <a:lnTo>
                  <a:pt x="14035" y="14284"/>
                </a:lnTo>
                <a:lnTo>
                  <a:pt x="13956" y="14330"/>
                </a:lnTo>
                <a:lnTo>
                  <a:pt x="13870" y="14368"/>
                </a:lnTo>
                <a:lnTo>
                  <a:pt x="13779" y="14397"/>
                </a:lnTo>
                <a:lnTo>
                  <a:pt x="13681" y="14419"/>
                </a:lnTo>
                <a:lnTo>
                  <a:pt x="13579" y="14432"/>
                </a:lnTo>
                <a:lnTo>
                  <a:pt x="13471" y="14437"/>
                </a:lnTo>
                <a:lnTo>
                  <a:pt x="10100" y="14436"/>
                </a:lnTo>
                <a:lnTo>
                  <a:pt x="10063" y="14435"/>
                </a:lnTo>
                <a:lnTo>
                  <a:pt x="10026" y="14434"/>
                </a:lnTo>
                <a:lnTo>
                  <a:pt x="9952" y="14430"/>
                </a:lnTo>
                <a:lnTo>
                  <a:pt x="9952" y="9038"/>
                </a:lnTo>
                <a:lnTo>
                  <a:pt x="10115" y="9038"/>
                </a:lnTo>
                <a:lnTo>
                  <a:pt x="11610" y="9040"/>
                </a:lnTo>
                <a:lnTo>
                  <a:pt x="11646" y="9039"/>
                </a:lnTo>
                <a:lnTo>
                  <a:pt x="11661" y="9038"/>
                </a:lnTo>
                <a:lnTo>
                  <a:pt x="11676" y="9035"/>
                </a:lnTo>
                <a:lnTo>
                  <a:pt x="11690" y="9032"/>
                </a:lnTo>
                <a:lnTo>
                  <a:pt x="11702" y="9027"/>
                </a:lnTo>
                <a:lnTo>
                  <a:pt x="11714" y="9022"/>
                </a:lnTo>
                <a:lnTo>
                  <a:pt x="11724" y="9015"/>
                </a:lnTo>
                <a:lnTo>
                  <a:pt x="11734" y="9007"/>
                </a:lnTo>
                <a:lnTo>
                  <a:pt x="11742" y="8998"/>
                </a:lnTo>
                <a:lnTo>
                  <a:pt x="11750" y="8987"/>
                </a:lnTo>
                <a:lnTo>
                  <a:pt x="11757" y="8975"/>
                </a:lnTo>
                <a:lnTo>
                  <a:pt x="11764" y="8961"/>
                </a:lnTo>
                <a:lnTo>
                  <a:pt x="11769" y="8945"/>
                </a:lnTo>
                <a:lnTo>
                  <a:pt x="11774" y="8927"/>
                </a:lnTo>
                <a:lnTo>
                  <a:pt x="11778" y="8907"/>
                </a:lnTo>
                <a:lnTo>
                  <a:pt x="12106" y="7266"/>
                </a:lnTo>
                <a:lnTo>
                  <a:pt x="12201" y="6760"/>
                </a:lnTo>
                <a:lnTo>
                  <a:pt x="9941" y="6760"/>
                </a:lnTo>
                <a:lnTo>
                  <a:pt x="9944" y="5817"/>
                </a:lnTo>
                <a:lnTo>
                  <a:pt x="9950" y="5719"/>
                </a:lnTo>
                <a:lnTo>
                  <a:pt x="9960" y="5621"/>
                </a:lnTo>
                <a:lnTo>
                  <a:pt x="9976" y="5523"/>
                </a:lnTo>
                <a:lnTo>
                  <a:pt x="9994" y="5427"/>
                </a:lnTo>
                <a:lnTo>
                  <a:pt x="10017" y="5333"/>
                </a:lnTo>
                <a:lnTo>
                  <a:pt x="10046" y="5244"/>
                </a:lnTo>
                <a:lnTo>
                  <a:pt x="10080" y="5159"/>
                </a:lnTo>
                <a:lnTo>
                  <a:pt x="10120" y="5080"/>
                </a:lnTo>
                <a:lnTo>
                  <a:pt x="10166" y="5005"/>
                </a:lnTo>
                <a:lnTo>
                  <a:pt x="10216" y="4936"/>
                </a:lnTo>
                <a:lnTo>
                  <a:pt x="10272" y="4871"/>
                </a:lnTo>
                <a:lnTo>
                  <a:pt x="10332" y="4812"/>
                </a:lnTo>
                <a:lnTo>
                  <a:pt x="10398" y="4759"/>
                </a:lnTo>
                <a:lnTo>
                  <a:pt x="10468" y="4711"/>
                </a:lnTo>
                <a:lnTo>
                  <a:pt x="10542" y="4669"/>
                </a:lnTo>
                <a:lnTo>
                  <a:pt x="10621" y="4633"/>
                </a:lnTo>
                <a:lnTo>
                  <a:pt x="10705" y="4604"/>
                </a:lnTo>
                <a:lnTo>
                  <a:pt x="10792" y="4580"/>
                </a:lnTo>
                <a:lnTo>
                  <a:pt x="10884" y="4563"/>
                </a:lnTo>
                <a:lnTo>
                  <a:pt x="10979" y="4553"/>
                </a:lnTo>
                <a:lnTo>
                  <a:pt x="11222" y="4539"/>
                </a:lnTo>
                <a:lnTo>
                  <a:pt x="11465" y="4532"/>
                </a:lnTo>
                <a:lnTo>
                  <a:pt x="11951" y="4524"/>
                </a:lnTo>
                <a:lnTo>
                  <a:pt x="12187" y="4524"/>
                </a:lnTo>
                <a:lnTo>
                  <a:pt x="12187" y="2254"/>
                </a:lnTo>
                <a:lnTo>
                  <a:pt x="12121" y="2250"/>
                </a:lnTo>
                <a:lnTo>
                  <a:pt x="12092" y="2249"/>
                </a:lnTo>
                <a:lnTo>
                  <a:pt x="12064" y="2248"/>
                </a:lnTo>
                <a:lnTo>
                  <a:pt x="10259" y="2251"/>
                </a:lnTo>
                <a:lnTo>
                  <a:pt x="10017" y="2266"/>
                </a:lnTo>
                <a:lnTo>
                  <a:pt x="9783" y="2301"/>
                </a:lnTo>
                <a:lnTo>
                  <a:pt x="9557" y="2358"/>
                </a:lnTo>
                <a:lnTo>
                  <a:pt x="9339" y="2435"/>
                </a:lnTo>
                <a:lnTo>
                  <a:pt x="9130" y="2533"/>
                </a:lnTo>
                <a:lnTo>
                  <a:pt x="8930" y="2653"/>
                </a:lnTo>
                <a:lnTo>
                  <a:pt x="8740" y="2794"/>
                </a:lnTo>
                <a:lnTo>
                  <a:pt x="8559" y="2958"/>
                </a:lnTo>
                <a:lnTo>
                  <a:pt x="8449" y="3073"/>
                </a:lnTo>
                <a:lnTo>
                  <a:pt x="8348" y="3193"/>
                </a:lnTo>
                <a:lnTo>
                  <a:pt x="8254" y="3315"/>
                </a:lnTo>
                <a:lnTo>
                  <a:pt x="8169" y="3441"/>
                </a:lnTo>
                <a:lnTo>
                  <a:pt x="8091" y="3570"/>
                </a:lnTo>
                <a:lnTo>
                  <a:pt x="8021" y="3703"/>
                </a:lnTo>
                <a:lnTo>
                  <a:pt x="7901" y="3976"/>
                </a:lnTo>
                <a:lnTo>
                  <a:pt x="7808" y="4259"/>
                </a:lnTo>
                <a:lnTo>
                  <a:pt x="7740" y="4553"/>
                </a:lnTo>
                <a:lnTo>
                  <a:pt x="7695" y="4854"/>
                </a:lnTo>
                <a:lnTo>
                  <a:pt x="7670" y="5164"/>
                </a:lnTo>
                <a:lnTo>
                  <a:pt x="7660" y="5523"/>
                </a:lnTo>
                <a:lnTo>
                  <a:pt x="7660" y="5883"/>
                </a:lnTo>
                <a:lnTo>
                  <a:pt x="7665" y="6603"/>
                </a:lnTo>
                <a:lnTo>
                  <a:pt x="7665" y="6766"/>
                </a:lnTo>
                <a:lnTo>
                  <a:pt x="5871" y="6766"/>
                </a:lnTo>
                <a:lnTo>
                  <a:pt x="5871" y="9041"/>
                </a:lnTo>
                <a:lnTo>
                  <a:pt x="7656" y="9041"/>
                </a:lnTo>
                <a:lnTo>
                  <a:pt x="7656" y="14428"/>
                </a:lnTo>
                <a:lnTo>
                  <a:pt x="7616" y="14433"/>
                </a:lnTo>
                <a:lnTo>
                  <a:pt x="7598" y="14435"/>
                </a:lnTo>
                <a:lnTo>
                  <a:pt x="7590" y="14436"/>
                </a:lnTo>
                <a:lnTo>
                  <a:pt x="7581" y="14436"/>
                </a:lnTo>
                <a:lnTo>
                  <a:pt x="895" y="14434"/>
                </a:lnTo>
                <a:lnTo>
                  <a:pt x="820" y="14431"/>
                </a:lnTo>
                <a:lnTo>
                  <a:pt x="748" y="14422"/>
                </a:lnTo>
                <a:lnTo>
                  <a:pt x="677" y="14407"/>
                </a:lnTo>
                <a:lnTo>
                  <a:pt x="608" y="14386"/>
                </a:lnTo>
                <a:lnTo>
                  <a:pt x="542" y="14360"/>
                </a:lnTo>
                <a:lnTo>
                  <a:pt x="479" y="14328"/>
                </a:lnTo>
                <a:lnTo>
                  <a:pt x="418" y="14292"/>
                </a:lnTo>
                <a:lnTo>
                  <a:pt x="361" y="14252"/>
                </a:lnTo>
                <a:lnTo>
                  <a:pt x="307" y="14207"/>
                </a:lnTo>
                <a:lnTo>
                  <a:pt x="257" y="14157"/>
                </a:lnTo>
                <a:lnTo>
                  <a:pt x="211" y="14104"/>
                </a:lnTo>
                <a:lnTo>
                  <a:pt x="169" y="14047"/>
                </a:lnTo>
                <a:lnTo>
                  <a:pt x="132" y="13987"/>
                </a:lnTo>
                <a:lnTo>
                  <a:pt x="99" y="13923"/>
                </a:lnTo>
                <a:lnTo>
                  <a:pt x="71" y="13857"/>
                </a:lnTo>
                <a:lnTo>
                  <a:pt x="48" y="13788"/>
                </a:lnTo>
                <a:lnTo>
                  <a:pt x="0" y="13628"/>
                </a:lnTo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wrap="none" anchor="ctr"/>
          <a:lstStyle/>
          <a:p>
            <a:endParaRPr lang="de-DE" sz="1800" dirty="0">
              <a:solidFill>
                <a:srgbClr val="123563"/>
              </a:solidFill>
              <a:latin typeface="BISansOpti"/>
            </a:endParaRPr>
          </a:p>
        </p:txBody>
      </p:sp>
      <p:sp>
        <p:nvSpPr>
          <p:cNvPr id="14" name="Freeform 2"/>
          <p:cNvSpPr>
            <a:spLocks noChangeAspect="1" noChangeArrowheads="1"/>
          </p:cNvSpPr>
          <p:nvPr userDrawn="1"/>
        </p:nvSpPr>
        <p:spPr bwMode="auto">
          <a:xfrm>
            <a:off x="1360311" y="1680736"/>
            <a:ext cx="528000" cy="431205"/>
          </a:xfrm>
          <a:custGeom>
            <a:avLst/>
            <a:gdLst>
              <a:gd name="T0" fmla="*/ 2302 w 14384"/>
              <a:gd name="T1" fmla="*/ 10229 h 11746"/>
              <a:gd name="T2" fmla="*/ 4222 w 14384"/>
              <a:gd name="T3" fmla="*/ 9176 h 11746"/>
              <a:gd name="T4" fmla="*/ 3544 w 14384"/>
              <a:gd name="T5" fmla="*/ 9052 h 11746"/>
              <a:gd name="T6" fmla="*/ 2627 w 14384"/>
              <a:gd name="T7" fmla="*/ 8581 h 11746"/>
              <a:gd name="T8" fmla="*/ 2100 w 14384"/>
              <a:gd name="T9" fmla="*/ 8065 h 11746"/>
              <a:gd name="T10" fmla="*/ 1633 w 14384"/>
              <a:gd name="T11" fmla="*/ 7227 h 11746"/>
              <a:gd name="T12" fmla="*/ 1622 w 14384"/>
              <a:gd name="T13" fmla="*/ 7169 h 11746"/>
              <a:gd name="T14" fmla="*/ 1631 w 14384"/>
              <a:gd name="T15" fmla="*/ 7150 h 11746"/>
              <a:gd name="T16" fmla="*/ 1654 w 14384"/>
              <a:gd name="T17" fmla="*/ 7142 h 11746"/>
              <a:gd name="T18" fmla="*/ 1884 w 14384"/>
              <a:gd name="T19" fmla="*/ 7165 h 11746"/>
              <a:gd name="T20" fmla="*/ 2540 w 14384"/>
              <a:gd name="T21" fmla="*/ 7153 h 11746"/>
              <a:gd name="T22" fmla="*/ 2848 w 14384"/>
              <a:gd name="T23" fmla="*/ 7095 h 11746"/>
              <a:gd name="T24" fmla="*/ 1895 w 14384"/>
              <a:gd name="T25" fmla="*/ 6602 h 11746"/>
              <a:gd name="T26" fmla="*/ 974 w 14384"/>
              <a:gd name="T27" fmla="*/ 5689 h 11746"/>
              <a:gd name="T28" fmla="*/ 567 w 14384"/>
              <a:gd name="T29" fmla="*/ 4595 h 11746"/>
              <a:gd name="T30" fmla="*/ 1040 w 14384"/>
              <a:gd name="T31" fmla="*/ 4344 h 11746"/>
              <a:gd name="T32" fmla="*/ 1878 w 14384"/>
              <a:gd name="T33" fmla="*/ 4497 h 11746"/>
              <a:gd name="T34" fmla="*/ 1298 w 14384"/>
              <a:gd name="T35" fmla="*/ 3967 h 11746"/>
              <a:gd name="T36" fmla="*/ 726 w 14384"/>
              <a:gd name="T37" fmla="*/ 2940 h 11746"/>
              <a:gd name="T38" fmla="*/ 592 w 14384"/>
              <a:gd name="T39" fmla="*/ 1831 h 11746"/>
              <a:gd name="T40" fmla="*/ 824 w 14384"/>
              <a:gd name="T41" fmla="*/ 868 h 11746"/>
              <a:gd name="T42" fmla="*/ 964 w 14384"/>
              <a:gd name="T43" fmla="*/ 589 h 11746"/>
              <a:gd name="T44" fmla="*/ 983 w 14384"/>
              <a:gd name="T45" fmla="*/ 577 h 11746"/>
              <a:gd name="T46" fmla="*/ 1005 w 14384"/>
              <a:gd name="T47" fmla="*/ 584 h 11746"/>
              <a:gd name="T48" fmla="*/ 1596 w 14384"/>
              <a:gd name="T49" fmla="*/ 1214 h 11746"/>
              <a:gd name="T50" fmla="*/ 4660 w 14384"/>
              <a:gd name="T51" fmla="*/ 3154 h 11746"/>
              <a:gd name="T52" fmla="*/ 6964 w 14384"/>
              <a:gd name="T53" fmla="*/ 3640 h 11746"/>
              <a:gd name="T54" fmla="*/ 7045 w 14384"/>
              <a:gd name="T55" fmla="*/ 3637 h 11746"/>
              <a:gd name="T56" fmla="*/ 7063 w 14384"/>
              <a:gd name="T57" fmla="*/ 3624 h 11746"/>
              <a:gd name="T58" fmla="*/ 7074 w 14384"/>
              <a:gd name="T59" fmla="*/ 3590 h 11746"/>
              <a:gd name="T60" fmla="*/ 7020 w 14384"/>
              <a:gd name="T61" fmla="*/ 2949 h 11746"/>
              <a:gd name="T62" fmla="*/ 7333 w 14384"/>
              <a:gd name="T63" fmla="*/ 1628 h 11746"/>
              <a:gd name="T64" fmla="*/ 8184 w 14384"/>
              <a:gd name="T65" fmla="*/ 606 h 11746"/>
              <a:gd name="T66" fmla="*/ 9383 w 14384"/>
              <a:gd name="T67" fmla="*/ 70 h 11746"/>
              <a:gd name="T68" fmla="*/ 10325 w 14384"/>
              <a:gd name="T69" fmla="*/ 15 h 11746"/>
              <a:gd name="T70" fmla="*/ 11198 w 14384"/>
              <a:gd name="T71" fmla="*/ 263 h 11746"/>
              <a:gd name="T72" fmla="*/ 11995 w 14384"/>
              <a:gd name="T73" fmla="*/ 807 h 11746"/>
              <a:gd name="T74" fmla="*/ 12123 w 14384"/>
              <a:gd name="T75" fmla="*/ 892 h 11746"/>
              <a:gd name="T76" fmla="*/ 12231 w 14384"/>
              <a:gd name="T77" fmla="*/ 915 h 11746"/>
              <a:gd name="T78" fmla="*/ 12744 w 14384"/>
              <a:gd name="T79" fmla="*/ 787 h 11746"/>
              <a:gd name="T80" fmla="*/ 13860 w 14384"/>
              <a:gd name="T81" fmla="*/ 315 h 11746"/>
              <a:gd name="T82" fmla="*/ 13966 w 14384"/>
              <a:gd name="T83" fmla="*/ 263 h 11746"/>
              <a:gd name="T84" fmla="*/ 13995 w 14384"/>
              <a:gd name="T85" fmla="*/ 269 h 11746"/>
              <a:gd name="T86" fmla="*/ 13527 w 14384"/>
              <a:gd name="T87" fmla="*/ 1148 h 11746"/>
              <a:gd name="T88" fmla="*/ 12830 w 14384"/>
              <a:gd name="T89" fmla="*/ 1838 h 11746"/>
              <a:gd name="T90" fmla="*/ 13292 w 14384"/>
              <a:gd name="T91" fmla="*/ 1763 h 11746"/>
              <a:gd name="T92" fmla="*/ 13785 w 14384"/>
              <a:gd name="T93" fmla="*/ 1631 h 11746"/>
              <a:gd name="T94" fmla="*/ 14219 w 14384"/>
              <a:gd name="T95" fmla="*/ 1479 h 11746"/>
              <a:gd name="T96" fmla="*/ 14275 w 14384"/>
              <a:gd name="T97" fmla="*/ 1604 h 11746"/>
              <a:gd name="T98" fmla="*/ 13501 w 14384"/>
              <a:gd name="T99" fmla="*/ 2473 h 11746"/>
              <a:gd name="T100" fmla="*/ 13009 w 14384"/>
              <a:gd name="T101" fmla="*/ 2877 h 11746"/>
              <a:gd name="T102" fmla="*/ 12970 w 14384"/>
              <a:gd name="T103" fmla="*/ 2930 h 11746"/>
              <a:gd name="T104" fmla="*/ 12953 w 14384"/>
              <a:gd name="T105" fmla="*/ 2990 h 11746"/>
              <a:gd name="T106" fmla="*/ 12687 w 14384"/>
              <a:gd name="T107" fmla="*/ 5388 h 11746"/>
              <a:gd name="T108" fmla="*/ 10923 w 14384"/>
              <a:gd name="T109" fmla="*/ 8821 h 11746"/>
              <a:gd name="T110" fmla="*/ 8211 w 14384"/>
              <a:gd name="T111" fmla="*/ 10949 h 11746"/>
              <a:gd name="T112" fmla="*/ 4606 w 14384"/>
              <a:gd name="T113" fmla="*/ 11745 h 11746"/>
              <a:gd name="T114" fmla="*/ 819 w 14384"/>
              <a:gd name="T115" fmla="*/ 10882 h 117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14384" h="11746">
                <a:moveTo>
                  <a:pt x="0" y="10417"/>
                </a:moveTo>
                <a:lnTo>
                  <a:pt x="600" y="10448"/>
                </a:lnTo>
                <a:lnTo>
                  <a:pt x="1183" y="10428"/>
                </a:lnTo>
                <a:lnTo>
                  <a:pt x="1751" y="10355"/>
                </a:lnTo>
                <a:lnTo>
                  <a:pt x="2302" y="10229"/>
                </a:lnTo>
                <a:lnTo>
                  <a:pt x="2839" y="10049"/>
                </a:lnTo>
                <a:lnTo>
                  <a:pt x="3362" y="9816"/>
                </a:lnTo>
                <a:lnTo>
                  <a:pt x="3872" y="9528"/>
                </a:lnTo>
                <a:lnTo>
                  <a:pt x="4370" y="9184"/>
                </a:lnTo>
                <a:lnTo>
                  <a:pt x="4222" y="9176"/>
                </a:lnTo>
                <a:lnTo>
                  <a:pt x="4079" y="9163"/>
                </a:lnTo>
                <a:lnTo>
                  <a:pt x="3940" y="9144"/>
                </a:lnTo>
                <a:lnTo>
                  <a:pt x="3805" y="9120"/>
                </a:lnTo>
                <a:lnTo>
                  <a:pt x="3674" y="9089"/>
                </a:lnTo>
                <a:lnTo>
                  <a:pt x="3544" y="9052"/>
                </a:lnTo>
                <a:lnTo>
                  <a:pt x="3418" y="9010"/>
                </a:lnTo>
                <a:lnTo>
                  <a:pt x="3293" y="8960"/>
                </a:lnTo>
                <a:lnTo>
                  <a:pt x="3010" y="8825"/>
                </a:lnTo>
                <a:lnTo>
                  <a:pt x="2749" y="8667"/>
                </a:lnTo>
                <a:lnTo>
                  <a:pt x="2627" y="8581"/>
                </a:lnTo>
                <a:lnTo>
                  <a:pt x="2511" y="8488"/>
                </a:lnTo>
                <a:lnTo>
                  <a:pt x="2400" y="8391"/>
                </a:lnTo>
                <a:lnTo>
                  <a:pt x="2294" y="8288"/>
                </a:lnTo>
                <a:lnTo>
                  <a:pt x="2195" y="8179"/>
                </a:lnTo>
                <a:lnTo>
                  <a:pt x="2100" y="8065"/>
                </a:lnTo>
                <a:lnTo>
                  <a:pt x="2012" y="7946"/>
                </a:lnTo>
                <a:lnTo>
                  <a:pt x="1928" y="7822"/>
                </a:lnTo>
                <a:lnTo>
                  <a:pt x="1778" y="7557"/>
                </a:lnTo>
                <a:lnTo>
                  <a:pt x="1650" y="7271"/>
                </a:lnTo>
                <a:lnTo>
                  <a:pt x="1633" y="7227"/>
                </a:lnTo>
                <a:lnTo>
                  <a:pt x="1628" y="7209"/>
                </a:lnTo>
                <a:lnTo>
                  <a:pt x="1624" y="7194"/>
                </a:lnTo>
                <a:lnTo>
                  <a:pt x="1622" y="7180"/>
                </a:lnTo>
                <a:lnTo>
                  <a:pt x="1621" y="7175"/>
                </a:lnTo>
                <a:lnTo>
                  <a:pt x="1622" y="7169"/>
                </a:lnTo>
                <a:lnTo>
                  <a:pt x="1622" y="7164"/>
                </a:lnTo>
                <a:lnTo>
                  <a:pt x="1624" y="7160"/>
                </a:lnTo>
                <a:lnTo>
                  <a:pt x="1625" y="7156"/>
                </a:lnTo>
                <a:lnTo>
                  <a:pt x="1628" y="7153"/>
                </a:lnTo>
                <a:lnTo>
                  <a:pt x="1631" y="7150"/>
                </a:lnTo>
                <a:lnTo>
                  <a:pt x="1634" y="7148"/>
                </a:lnTo>
                <a:lnTo>
                  <a:pt x="1638" y="7146"/>
                </a:lnTo>
                <a:lnTo>
                  <a:pt x="1643" y="7144"/>
                </a:lnTo>
                <a:lnTo>
                  <a:pt x="1648" y="7143"/>
                </a:lnTo>
                <a:lnTo>
                  <a:pt x="1654" y="7142"/>
                </a:lnTo>
                <a:lnTo>
                  <a:pt x="1668" y="7141"/>
                </a:lnTo>
                <a:lnTo>
                  <a:pt x="1685" y="7142"/>
                </a:lnTo>
                <a:lnTo>
                  <a:pt x="1704" y="7143"/>
                </a:lnTo>
                <a:lnTo>
                  <a:pt x="1752" y="7149"/>
                </a:lnTo>
                <a:lnTo>
                  <a:pt x="1884" y="7165"/>
                </a:lnTo>
                <a:lnTo>
                  <a:pt x="2015" y="7175"/>
                </a:lnTo>
                <a:lnTo>
                  <a:pt x="2147" y="7178"/>
                </a:lnTo>
                <a:lnTo>
                  <a:pt x="2278" y="7176"/>
                </a:lnTo>
                <a:lnTo>
                  <a:pt x="2409" y="7167"/>
                </a:lnTo>
                <a:lnTo>
                  <a:pt x="2540" y="7153"/>
                </a:lnTo>
                <a:lnTo>
                  <a:pt x="2671" y="7134"/>
                </a:lnTo>
                <a:lnTo>
                  <a:pt x="2802" y="7109"/>
                </a:lnTo>
                <a:lnTo>
                  <a:pt x="2813" y="7106"/>
                </a:lnTo>
                <a:lnTo>
                  <a:pt x="2825" y="7103"/>
                </a:lnTo>
                <a:lnTo>
                  <a:pt x="2848" y="7095"/>
                </a:lnTo>
                <a:lnTo>
                  <a:pt x="2900" y="7074"/>
                </a:lnTo>
                <a:lnTo>
                  <a:pt x="2631" y="6984"/>
                </a:lnTo>
                <a:lnTo>
                  <a:pt x="2373" y="6874"/>
                </a:lnTo>
                <a:lnTo>
                  <a:pt x="2128" y="6747"/>
                </a:lnTo>
                <a:lnTo>
                  <a:pt x="1895" y="6602"/>
                </a:lnTo>
                <a:lnTo>
                  <a:pt x="1677" y="6443"/>
                </a:lnTo>
                <a:lnTo>
                  <a:pt x="1475" y="6271"/>
                </a:lnTo>
                <a:lnTo>
                  <a:pt x="1289" y="6087"/>
                </a:lnTo>
                <a:lnTo>
                  <a:pt x="1122" y="5892"/>
                </a:lnTo>
                <a:lnTo>
                  <a:pt x="974" y="5689"/>
                </a:lnTo>
                <a:lnTo>
                  <a:pt x="846" y="5479"/>
                </a:lnTo>
                <a:lnTo>
                  <a:pt x="741" y="5262"/>
                </a:lnTo>
                <a:lnTo>
                  <a:pt x="658" y="5042"/>
                </a:lnTo>
                <a:lnTo>
                  <a:pt x="600" y="4819"/>
                </a:lnTo>
                <a:lnTo>
                  <a:pt x="567" y="4595"/>
                </a:lnTo>
                <a:lnTo>
                  <a:pt x="560" y="4372"/>
                </a:lnTo>
                <a:lnTo>
                  <a:pt x="582" y="4151"/>
                </a:lnTo>
                <a:lnTo>
                  <a:pt x="733" y="4222"/>
                </a:lnTo>
                <a:lnTo>
                  <a:pt x="885" y="4286"/>
                </a:lnTo>
                <a:lnTo>
                  <a:pt x="1040" y="4344"/>
                </a:lnTo>
                <a:lnTo>
                  <a:pt x="1199" y="4394"/>
                </a:lnTo>
                <a:lnTo>
                  <a:pt x="1361" y="4435"/>
                </a:lnTo>
                <a:lnTo>
                  <a:pt x="1528" y="4466"/>
                </a:lnTo>
                <a:lnTo>
                  <a:pt x="1700" y="4487"/>
                </a:lnTo>
                <a:lnTo>
                  <a:pt x="1878" y="4497"/>
                </a:lnTo>
                <a:lnTo>
                  <a:pt x="1717" y="4366"/>
                </a:lnTo>
                <a:lnTo>
                  <a:pt x="1566" y="4238"/>
                </a:lnTo>
                <a:lnTo>
                  <a:pt x="1426" y="4106"/>
                </a:lnTo>
                <a:lnTo>
                  <a:pt x="1361" y="4038"/>
                </a:lnTo>
                <a:lnTo>
                  <a:pt x="1298" y="3967"/>
                </a:lnTo>
                <a:lnTo>
                  <a:pt x="1149" y="3775"/>
                </a:lnTo>
                <a:lnTo>
                  <a:pt x="1017" y="3577"/>
                </a:lnTo>
                <a:lnTo>
                  <a:pt x="903" y="3371"/>
                </a:lnTo>
                <a:lnTo>
                  <a:pt x="806" y="3159"/>
                </a:lnTo>
                <a:lnTo>
                  <a:pt x="726" y="2940"/>
                </a:lnTo>
                <a:lnTo>
                  <a:pt x="664" y="2713"/>
                </a:lnTo>
                <a:lnTo>
                  <a:pt x="620" y="2479"/>
                </a:lnTo>
                <a:lnTo>
                  <a:pt x="594" y="2237"/>
                </a:lnTo>
                <a:lnTo>
                  <a:pt x="586" y="2032"/>
                </a:lnTo>
                <a:lnTo>
                  <a:pt x="592" y="1831"/>
                </a:lnTo>
                <a:lnTo>
                  <a:pt x="612" y="1633"/>
                </a:lnTo>
                <a:lnTo>
                  <a:pt x="645" y="1438"/>
                </a:lnTo>
                <a:lnTo>
                  <a:pt x="692" y="1245"/>
                </a:lnTo>
                <a:lnTo>
                  <a:pt x="752" y="1056"/>
                </a:lnTo>
                <a:lnTo>
                  <a:pt x="824" y="868"/>
                </a:lnTo>
                <a:lnTo>
                  <a:pt x="910" y="684"/>
                </a:lnTo>
                <a:lnTo>
                  <a:pt x="933" y="638"/>
                </a:lnTo>
                <a:lnTo>
                  <a:pt x="952" y="606"/>
                </a:lnTo>
                <a:lnTo>
                  <a:pt x="960" y="594"/>
                </a:lnTo>
                <a:lnTo>
                  <a:pt x="964" y="589"/>
                </a:lnTo>
                <a:lnTo>
                  <a:pt x="968" y="585"/>
                </a:lnTo>
                <a:lnTo>
                  <a:pt x="972" y="582"/>
                </a:lnTo>
                <a:lnTo>
                  <a:pt x="976" y="580"/>
                </a:lnTo>
                <a:lnTo>
                  <a:pt x="980" y="578"/>
                </a:lnTo>
                <a:lnTo>
                  <a:pt x="983" y="577"/>
                </a:lnTo>
                <a:lnTo>
                  <a:pt x="987" y="577"/>
                </a:lnTo>
                <a:lnTo>
                  <a:pt x="992" y="578"/>
                </a:lnTo>
                <a:lnTo>
                  <a:pt x="996" y="579"/>
                </a:lnTo>
                <a:lnTo>
                  <a:pt x="1000" y="581"/>
                </a:lnTo>
                <a:lnTo>
                  <a:pt x="1005" y="584"/>
                </a:lnTo>
                <a:lnTo>
                  <a:pt x="1010" y="587"/>
                </a:lnTo>
                <a:lnTo>
                  <a:pt x="1020" y="596"/>
                </a:lnTo>
                <a:lnTo>
                  <a:pt x="1045" y="623"/>
                </a:lnTo>
                <a:lnTo>
                  <a:pt x="1078" y="660"/>
                </a:lnTo>
                <a:lnTo>
                  <a:pt x="1596" y="1214"/>
                </a:lnTo>
                <a:lnTo>
                  <a:pt x="2145" y="1714"/>
                </a:lnTo>
                <a:lnTo>
                  <a:pt x="2726" y="2158"/>
                </a:lnTo>
                <a:lnTo>
                  <a:pt x="3338" y="2546"/>
                </a:lnTo>
                <a:lnTo>
                  <a:pt x="3983" y="2878"/>
                </a:lnTo>
                <a:lnTo>
                  <a:pt x="4660" y="3154"/>
                </a:lnTo>
                <a:lnTo>
                  <a:pt x="5369" y="3373"/>
                </a:lnTo>
                <a:lnTo>
                  <a:pt x="6112" y="3535"/>
                </a:lnTo>
                <a:lnTo>
                  <a:pt x="6324" y="3567"/>
                </a:lnTo>
                <a:lnTo>
                  <a:pt x="6537" y="3593"/>
                </a:lnTo>
                <a:lnTo>
                  <a:pt x="6964" y="3640"/>
                </a:lnTo>
                <a:lnTo>
                  <a:pt x="6997" y="3643"/>
                </a:lnTo>
                <a:lnTo>
                  <a:pt x="7011" y="3643"/>
                </a:lnTo>
                <a:lnTo>
                  <a:pt x="7024" y="3642"/>
                </a:lnTo>
                <a:lnTo>
                  <a:pt x="7035" y="3640"/>
                </a:lnTo>
                <a:lnTo>
                  <a:pt x="7045" y="3637"/>
                </a:lnTo>
                <a:lnTo>
                  <a:pt x="7049" y="3635"/>
                </a:lnTo>
                <a:lnTo>
                  <a:pt x="7053" y="3633"/>
                </a:lnTo>
                <a:lnTo>
                  <a:pt x="7057" y="3631"/>
                </a:lnTo>
                <a:lnTo>
                  <a:pt x="7060" y="3628"/>
                </a:lnTo>
                <a:lnTo>
                  <a:pt x="7063" y="3624"/>
                </a:lnTo>
                <a:lnTo>
                  <a:pt x="7066" y="3621"/>
                </a:lnTo>
                <a:lnTo>
                  <a:pt x="7068" y="3617"/>
                </a:lnTo>
                <a:lnTo>
                  <a:pt x="7070" y="3612"/>
                </a:lnTo>
                <a:lnTo>
                  <a:pt x="7073" y="3602"/>
                </a:lnTo>
                <a:lnTo>
                  <a:pt x="7074" y="3590"/>
                </a:lnTo>
                <a:lnTo>
                  <a:pt x="7075" y="3576"/>
                </a:lnTo>
                <a:lnTo>
                  <a:pt x="7074" y="3560"/>
                </a:lnTo>
                <a:lnTo>
                  <a:pt x="7069" y="3523"/>
                </a:lnTo>
                <a:lnTo>
                  <a:pt x="7031" y="3234"/>
                </a:lnTo>
                <a:lnTo>
                  <a:pt x="7020" y="2949"/>
                </a:lnTo>
                <a:lnTo>
                  <a:pt x="7035" y="2669"/>
                </a:lnTo>
                <a:lnTo>
                  <a:pt x="7074" y="2395"/>
                </a:lnTo>
                <a:lnTo>
                  <a:pt x="7137" y="2130"/>
                </a:lnTo>
                <a:lnTo>
                  <a:pt x="7224" y="1873"/>
                </a:lnTo>
                <a:lnTo>
                  <a:pt x="7333" y="1628"/>
                </a:lnTo>
                <a:lnTo>
                  <a:pt x="7463" y="1394"/>
                </a:lnTo>
                <a:lnTo>
                  <a:pt x="7614" y="1174"/>
                </a:lnTo>
                <a:lnTo>
                  <a:pt x="7785" y="968"/>
                </a:lnTo>
                <a:lnTo>
                  <a:pt x="7976" y="778"/>
                </a:lnTo>
                <a:lnTo>
                  <a:pt x="8184" y="606"/>
                </a:lnTo>
                <a:lnTo>
                  <a:pt x="8410" y="452"/>
                </a:lnTo>
                <a:lnTo>
                  <a:pt x="8653" y="319"/>
                </a:lnTo>
                <a:lnTo>
                  <a:pt x="8912" y="207"/>
                </a:lnTo>
                <a:lnTo>
                  <a:pt x="9186" y="118"/>
                </a:lnTo>
                <a:lnTo>
                  <a:pt x="9383" y="70"/>
                </a:lnTo>
                <a:lnTo>
                  <a:pt x="9577" y="34"/>
                </a:lnTo>
                <a:lnTo>
                  <a:pt x="9768" y="11"/>
                </a:lnTo>
                <a:lnTo>
                  <a:pt x="9956" y="0"/>
                </a:lnTo>
                <a:lnTo>
                  <a:pt x="10142" y="1"/>
                </a:lnTo>
                <a:lnTo>
                  <a:pt x="10325" y="15"/>
                </a:lnTo>
                <a:lnTo>
                  <a:pt x="10506" y="40"/>
                </a:lnTo>
                <a:lnTo>
                  <a:pt x="10683" y="78"/>
                </a:lnTo>
                <a:lnTo>
                  <a:pt x="10858" y="128"/>
                </a:lnTo>
                <a:lnTo>
                  <a:pt x="11029" y="189"/>
                </a:lnTo>
                <a:lnTo>
                  <a:pt x="11198" y="263"/>
                </a:lnTo>
                <a:lnTo>
                  <a:pt x="11364" y="348"/>
                </a:lnTo>
                <a:lnTo>
                  <a:pt x="11526" y="445"/>
                </a:lnTo>
                <a:lnTo>
                  <a:pt x="11686" y="554"/>
                </a:lnTo>
                <a:lnTo>
                  <a:pt x="11842" y="675"/>
                </a:lnTo>
                <a:lnTo>
                  <a:pt x="11995" y="807"/>
                </a:lnTo>
                <a:lnTo>
                  <a:pt x="12039" y="843"/>
                </a:lnTo>
                <a:lnTo>
                  <a:pt x="12060" y="858"/>
                </a:lnTo>
                <a:lnTo>
                  <a:pt x="12081" y="871"/>
                </a:lnTo>
                <a:lnTo>
                  <a:pt x="12102" y="883"/>
                </a:lnTo>
                <a:lnTo>
                  <a:pt x="12123" y="892"/>
                </a:lnTo>
                <a:lnTo>
                  <a:pt x="12144" y="900"/>
                </a:lnTo>
                <a:lnTo>
                  <a:pt x="12165" y="906"/>
                </a:lnTo>
                <a:lnTo>
                  <a:pt x="12187" y="911"/>
                </a:lnTo>
                <a:lnTo>
                  <a:pt x="12209" y="914"/>
                </a:lnTo>
                <a:lnTo>
                  <a:pt x="12231" y="915"/>
                </a:lnTo>
                <a:lnTo>
                  <a:pt x="12254" y="914"/>
                </a:lnTo>
                <a:lnTo>
                  <a:pt x="12278" y="912"/>
                </a:lnTo>
                <a:lnTo>
                  <a:pt x="12302" y="909"/>
                </a:lnTo>
                <a:lnTo>
                  <a:pt x="12354" y="898"/>
                </a:lnTo>
                <a:lnTo>
                  <a:pt x="12744" y="787"/>
                </a:lnTo>
                <a:lnTo>
                  <a:pt x="13126" y="654"/>
                </a:lnTo>
                <a:lnTo>
                  <a:pt x="13313" y="579"/>
                </a:lnTo>
                <a:lnTo>
                  <a:pt x="13498" y="497"/>
                </a:lnTo>
                <a:lnTo>
                  <a:pt x="13680" y="409"/>
                </a:lnTo>
                <a:lnTo>
                  <a:pt x="13860" y="315"/>
                </a:lnTo>
                <a:lnTo>
                  <a:pt x="13960" y="264"/>
                </a:lnTo>
                <a:lnTo>
                  <a:pt x="13961" y="263"/>
                </a:lnTo>
                <a:lnTo>
                  <a:pt x="13963" y="263"/>
                </a:lnTo>
                <a:lnTo>
                  <a:pt x="13964" y="263"/>
                </a:lnTo>
                <a:lnTo>
                  <a:pt x="13966" y="263"/>
                </a:lnTo>
                <a:lnTo>
                  <a:pt x="13968" y="263"/>
                </a:lnTo>
                <a:lnTo>
                  <a:pt x="13970" y="264"/>
                </a:lnTo>
                <a:lnTo>
                  <a:pt x="13975" y="265"/>
                </a:lnTo>
                <a:lnTo>
                  <a:pt x="13987" y="268"/>
                </a:lnTo>
                <a:lnTo>
                  <a:pt x="13995" y="269"/>
                </a:lnTo>
                <a:lnTo>
                  <a:pt x="14004" y="271"/>
                </a:lnTo>
                <a:lnTo>
                  <a:pt x="13912" y="511"/>
                </a:lnTo>
                <a:lnTo>
                  <a:pt x="13801" y="736"/>
                </a:lnTo>
                <a:lnTo>
                  <a:pt x="13673" y="949"/>
                </a:lnTo>
                <a:lnTo>
                  <a:pt x="13527" y="1148"/>
                </a:lnTo>
                <a:lnTo>
                  <a:pt x="13363" y="1336"/>
                </a:lnTo>
                <a:lnTo>
                  <a:pt x="13182" y="1513"/>
                </a:lnTo>
                <a:lnTo>
                  <a:pt x="12984" y="1679"/>
                </a:lnTo>
                <a:lnTo>
                  <a:pt x="12768" y="1836"/>
                </a:lnTo>
                <a:lnTo>
                  <a:pt x="12830" y="1838"/>
                </a:lnTo>
                <a:lnTo>
                  <a:pt x="12888" y="1836"/>
                </a:lnTo>
                <a:lnTo>
                  <a:pt x="12943" y="1831"/>
                </a:lnTo>
                <a:lnTo>
                  <a:pt x="12996" y="1823"/>
                </a:lnTo>
                <a:lnTo>
                  <a:pt x="13192" y="1783"/>
                </a:lnTo>
                <a:lnTo>
                  <a:pt x="13292" y="1763"/>
                </a:lnTo>
                <a:lnTo>
                  <a:pt x="13392" y="1741"/>
                </a:lnTo>
                <a:lnTo>
                  <a:pt x="13491" y="1717"/>
                </a:lnTo>
                <a:lnTo>
                  <a:pt x="13590" y="1691"/>
                </a:lnTo>
                <a:lnTo>
                  <a:pt x="13688" y="1662"/>
                </a:lnTo>
                <a:lnTo>
                  <a:pt x="13785" y="1631"/>
                </a:lnTo>
                <a:lnTo>
                  <a:pt x="13979" y="1569"/>
                </a:lnTo>
                <a:lnTo>
                  <a:pt x="14026" y="1553"/>
                </a:lnTo>
                <a:lnTo>
                  <a:pt x="14073" y="1535"/>
                </a:lnTo>
                <a:lnTo>
                  <a:pt x="14169" y="1497"/>
                </a:lnTo>
                <a:lnTo>
                  <a:pt x="14219" y="1479"/>
                </a:lnTo>
                <a:lnTo>
                  <a:pt x="14271" y="1462"/>
                </a:lnTo>
                <a:lnTo>
                  <a:pt x="14325" y="1448"/>
                </a:lnTo>
                <a:lnTo>
                  <a:pt x="14383" y="1437"/>
                </a:lnTo>
                <a:lnTo>
                  <a:pt x="14329" y="1522"/>
                </a:lnTo>
                <a:lnTo>
                  <a:pt x="14275" y="1604"/>
                </a:lnTo>
                <a:lnTo>
                  <a:pt x="14161" y="1758"/>
                </a:lnTo>
                <a:lnTo>
                  <a:pt x="14044" y="1901"/>
                </a:lnTo>
                <a:lnTo>
                  <a:pt x="13924" y="2039"/>
                </a:lnTo>
                <a:lnTo>
                  <a:pt x="13717" y="2261"/>
                </a:lnTo>
                <a:lnTo>
                  <a:pt x="13501" y="2473"/>
                </a:lnTo>
                <a:lnTo>
                  <a:pt x="13274" y="2673"/>
                </a:lnTo>
                <a:lnTo>
                  <a:pt x="13155" y="2767"/>
                </a:lnTo>
                <a:lnTo>
                  <a:pt x="13033" y="2858"/>
                </a:lnTo>
                <a:lnTo>
                  <a:pt x="13020" y="2867"/>
                </a:lnTo>
                <a:lnTo>
                  <a:pt x="13009" y="2877"/>
                </a:lnTo>
                <a:lnTo>
                  <a:pt x="12999" y="2887"/>
                </a:lnTo>
                <a:lnTo>
                  <a:pt x="12990" y="2898"/>
                </a:lnTo>
                <a:lnTo>
                  <a:pt x="12982" y="2908"/>
                </a:lnTo>
                <a:lnTo>
                  <a:pt x="12975" y="2919"/>
                </a:lnTo>
                <a:lnTo>
                  <a:pt x="12970" y="2930"/>
                </a:lnTo>
                <a:lnTo>
                  <a:pt x="12965" y="2941"/>
                </a:lnTo>
                <a:lnTo>
                  <a:pt x="12961" y="2953"/>
                </a:lnTo>
                <a:lnTo>
                  <a:pt x="12957" y="2965"/>
                </a:lnTo>
                <a:lnTo>
                  <a:pt x="12955" y="2977"/>
                </a:lnTo>
                <a:lnTo>
                  <a:pt x="12953" y="2990"/>
                </a:lnTo>
                <a:lnTo>
                  <a:pt x="12950" y="3017"/>
                </a:lnTo>
                <a:lnTo>
                  <a:pt x="12950" y="3047"/>
                </a:lnTo>
                <a:lnTo>
                  <a:pt x="12929" y="3850"/>
                </a:lnTo>
                <a:lnTo>
                  <a:pt x="12841" y="4631"/>
                </a:lnTo>
                <a:lnTo>
                  <a:pt x="12687" y="5388"/>
                </a:lnTo>
                <a:lnTo>
                  <a:pt x="12467" y="6122"/>
                </a:lnTo>
                <a:lnTo>
                  <a:pt x="12180" y="6832"/>
                </a:lnTo>
                <a:lnTo>
                  <a:pt x="11827" y="7519"/>
                </a:lnTo>
                <a:lnTo>
                  <a:pt x="11408" y="8182"/>
                </a:lnTo>
                <a:lnTo>
                  <a:pt x="10923" y="8821"/>
                </a:lnTo>
                <a:lnTo>
                  <a:pt x="10445" y="9353"/>
                </a:lnTo>
                <a:lnTo>
                  <a:pt x="9935" y="9832"/>
                </a:lnTo>
                <a:lnTo>
                  <a:pt x="9392" y="10258"/>
                </a:lnTo>
                <a:lnTo>
                  <a:pt x="8817" y="10630"/>
                </a:lnTo>
                <a:lnTo>
                  <a:pt x="8211" y="10949"/>
                </a:lnTo>
                <a:lnTo>
                  <a:pt x="7574" y="11215"/>
                </a:lnTo>
                <a:lnTo>
                  <a:pt x="6907" y="11427"/>
                </a:lnTo>
                <a:lnTo>
                  <a:pt x="6210" y="11586"/>
                </a:lnTo>
                <a:lnTo>
                  <a:pt x="5402" y="11701"/>
                </a:lnTo>
                <a:lnTo>
                  <a:pt x="4606" y="11745"/>
                </a:lnTo>
                <a:lnTo>
                  <a:pt x="3823" y="11718"/>
                </a:lnTo>
                <a:lnTo>
                  <a:pt x="3053" y="11619"/>
                </a:lnTo>
                <a:lnTo>
                  <a:pt x="2295" y="11447"/>
                </a:lnTo>
                <a:lnTo>
                  <a:pt x="1550" y="11201"/>
                </a:lnTo>
                <a:lnTo>
                  <a:pt x="819" y="10882"/>
                </a:lnTo>
                <a:lnTo>
                  <a:pt x="101" y="10488"/>
                </a:lnTo>
                <a:lnTo>
                  <a:pt x="83" y="10477"/>
                </a:lnTo>
                <a:lnTo>
                  <a:pt x="63" y="10462"/>
                </a:lnTo>
                <a:lnTo>
                  <a:pt x="0" y="10417"/>
                </a:lnTo>
              </a:path>
            </a:pathLst>
          </a:custGeom>
          <a:solidFill>
            <a:srgbClr val="123563"/>
          </a:solidFill>
          <a:ln>
            <a:noFill/>
          </a:ln>
          <a:effectLst/>
        </p:spPr>
        <p:txBody>
          <a:bodyPr wrap="none" anchor="ctr"/>
          <a:lstStyle/>
          <a:p>
            <a:endParaRPr lang="de-DE" sz="1800" dirty="0">
              <a:latin typeface="BISansOpti"/>
            </a:endParaRPr>
          </a:p>
        </p:txBody>
      </p:sp>
      <p:sp>
        <p:nvSpPr>
          <p:cNvPr id="15" name="Freeform 2"/>
          <p:cNvSpPr>
            <a:spLocks noChangeAspect="1" noChangeArrowheads="1"/>
          </p:cNvSpPr>
          <p:nvPr userDrawn="1"/>
        </p:nvSpPr>
        <p:spPr bwMode="auto">
          <a:xfrm>
            <a:off x="2201975" y="1708047"/>
            <a:ext cx="480000" cy="359193"/>
          </a:xfrm>
          <a:custGeom>
            <a:avLst/>
            <a:gdLst>
              <a:gd name="T0" fmla="*/ 14325 w 14438"/>
              <a:gd name="T1" fmla="*/ 8118 h 10806"/>
              <a:gd name="T2" fmla="*/ 14255 w 14438"/>
              <a:gd name="T3" fmla="*/ 8647 h 10806"/>
              <a:gd name="T4" fmla="*/ 14181 w 14438"/>
              <a:gd name="T5" fmla="*/ 8993 h 10806"/>
              <a:gd name="T6" fmla="*/ 14077 w 14438"/>
              <a:gd name="T7" fmla="*/ 9332 h 10806"/>
              <a:gd name="T8" fmla="*/ 13964 w 14438"/>
              <a:gd name="T9" fmla="*/ 9609 h 10806"/>
              <a:gd name="T10" fmla="*/ 13852 w 14438"/>
              <a:gd name="T11" fmla="*/ 9813 h 10806"/>
              <a:gd name="T12" fmla="*/ 13721 w 14438"/>
              <a:gd name="T13" fmla="*/ 9995 h 10806"/>
              <a:gd name="T14" fmla="*/ 13572 w 14438"/>
              <a:gd name="T15" fmla="*/ 10155 h 10806"/>
              <a:gd name="T16" fmla="*/ 13405 w 14438"/>
              <a:gd name="T17" fmla="*/ 10292 h 10806"/>
              <a:gd name="T18" fmla="*/ 13220 w 14438"/>
              <a:gd name="T19" fmla="*/ 10406 h 10806"/>
              <a:gd name="T20" fmla="*/ 13016 w 14438"/>
              <a:gd name="T21" fmla="*/ 10497 h 10806"/>
              <a:gd name="T22" fmla="*/ 12795 w 14438"/>
              <a:gd name="T23" fmla="*/ 10564 h 10806"/>
              <a:gd name="T24" fmla="*/ 12403 w 14438"/>
              <a:gd name="T25" fmla="*/ 10631 h 10806"/>
              <a:gd name="T26" fmla="*/ 11849 w 14438"/>
              <a:gd name="T27" fmla="*/ 10683 h 10806"/>
              <a:gd name="T28" fmla="*/ 7794 w 14438"/>
              <a:gd name="T29" fmla="*/ 10805 h 10806"/>
              <a:gd name="T30" fmla="*/ 2034 w 14438"/>
              <a:gd name="T31" fmla="*/ 10612 h 10806"/>
              <a:gd name="T32" fmla="*/ 1725 w 14438"/>
              <a:gd name="T33" fmla="*/ 10567 h 10806"/>
              <a:gd name="T34" fmla="*/ 1442 w 14438"/>
              <a:gd name="T35" fmla="*/ 10487 h 10806"/>
              <a:gd name="T36" fmla="*/ 1186 w 14438"/>
              <a:gd name="T37" fmla="*/ 10372 h 10806"/>
              <a:gd name="T38" fmla="*/ 957 w 14438"/>
              <a:gd name="T39" fmla="*/ 10222 h 10806"/>
              <a:gd name="T40" fmla="*/ 756 w 14438"/>
              <a:gd name="T41" fmla="*/ 10035 h 10806"/>
              <a:gd name="T42" fmla="*/ 584 w 14438"/>
              <a:gd name="T43" fmla="*/ 9811 h 10806"/>
              <a:gd name="T44" fmla="*/ 440 w 14438"/>
              <a:gd name="T45" fmla="*/ 9549 h 10806"/>
              <a:gd name="T46" fmla="*/ 327 w 14438"/>
              <a:gd name="T47" fmla="*/ 9249 h 10806"/>
              <a:gd name="T48" fmla="*/ 215 w 14438"/>
              <a:gd name="T49" fmla="*/ 8800 h 10806"/>
              <a:gd name="T50" fmla="*/ 142 w 14438"/>
              <a:gd name="T51" fmla="*/ 8345 h 10806"/>
              <a:gd name="T52" fmla="*/ 60 w 14438"/>
              <a:gd name="T53" fmla="*/ 7429 h 10806"/>
              <a:gd name="T54" fmla="*/ 0 w 14438"/>
              <a:gd name="T55" fmla="*/ 4261 h 10806"/>
              <a:gd name="T56" fmla="*/ 19 w 14438"/>
              <a:gd name="T57" fmla="*/ 4179 h 10806"/>
              <a:gd name="T58" fmla="*/ 22 w 14438"/>
              <a:gd name="T59" fmla="*/ 4152 h 10806"/>
              <a:gd name="T60" fmla="*/ 124 w 14438"/>
              <a:gd name="T61" fmla="*/ 2563 h 10806"/>
              <a:gd name="T62" fmla="*/ 181 w 14438"/>
              <a:gd name="T63" fmla="*/ 2160 h 10806"/>
              <a:gd name="T64" fmla="*/ 268 w 14438"/>
              <a:gd name="T65" fmla="*/ 1763 h 10806"/>
              <a:gd name="T66" fmla="*/ 394 w 14438"/>
              <a:gd name="T67" fmla="*/ 1373 h 10806"/>
              <a:gd name="T68" fmla="*/ 495 w 14438"/>
              <a:gd name="T69" fmla="*/ 1146 h 10806"/>
              <a:gd name="T70" fmla="*/ 616 w 14438"/>
              <a:gd name="T71" fmla="*/ 940 h 10806"/>
              <a:gd name="T72" fmla="*/ 756 w 14438"/>
              <a:gd name="T73" fmla="*/ 757 h 10806"/>
              <a:gd name="T74" fmla="*/ 916 w 14438"/>
              <a:gd name="T75" fmla="*/ 598 h 10806"/>
              <a:gd name="T76" fmla="*/ 1095 w 14438"/>
              <a:gd name="T77" fmla="*/ 464 h 10806"/>
              <a:gd name="T78" fmla="*/ 1295 w 14438"/>
              <a:gd name="T79" fmla="*/ 355 h 10806"/>
              <a:gd name="T80" fmla="*/ 1515 w 14438"/>
              <a:gd name="T81" fmla="*/ 272 h 10806"/>
              <a:gd name="T82" fmla="*/ 1755 w 14438"/>
              <a:gd name="T83" fmla="*/ 217 h 10806"/>
              <a:gd name="T84" fmla="*/ 2523 w 14438"/>
              <a:gd name="T85" fmla="*/ 126 h 10806"/>
              <a:gd name="T86" fmla="*/ 3297 w 14438"/>
              <a:gd name="T87" fmla="*/ 84 h 10806"/>
              <a:gd name="T88" fmla="*/ 10458 w 14438"/>
              <a:gd name="T89" fmla="*/ 57 h 10806"/>
              <a:gd name="T90" fmla="*/ 12041 w 14438"/>
              <a:gd name="T91" fmla="*/ 144 h 10806"/>
              <a:gd name="T92" fmla="*/ 12686 w 14438"/>
              <a:gd name="T93" fmla="*/ 211 h 10806"/>
              <a:gd name="T94" fmla="*/ 12911 w 14438"/>
              <a:gd name="T95" fmla="*/ 262 h 10806"/>
              <a:gd name="T96" fmla="*/ 13122 w 14438"/>
              <a:gd name="T97" fmla="*/ 339 h 10806"/>
              <a:gd name="T98" fmla="*/ 13316 w 14438"/>
              <a:gd name="T99" fmla="*/ 440 h 10806"/>
              <a:gd name="T100" fmla="*/ 13493 w 14438"/>
              <a:gd name="T101" fmla="*/ 567 h 10806"/>
              <a:gd name="T102" fmla="*/ 13651 w 14438"/>
              <a:gd name="T103" fmla="*/ 718 h 10806"/>
              <a:gd name="T104" fmla="*/ 13790 w 14438"/>
              <a:gd name="T105" fmla="*/ 894 h 10806"/>
              <a:gd name="T106" fmla="*/ 13909 w 14438"/>
              <a:gd name="T107" fmla="*/ 1094 h 10806"/>
              <a:gd name="T108" fmla="*/ 14062 w 14438"/>
              <a:gd name="T109" fmla="*/ 1453 h 10806"/>
              <a:gd name="T110" fmla="*/ 14150 w 14438"/>
              <a:gd name="T111" fmla="*/ 1710 h 10806"/>
              <a:gd name="T112" fmla="*/ 14218 w 14438"/>
              <a:gd name="T113" fmla="*/ 1973 h 10806"/>
              <a:gd name="T114" fmla="*/ 14260 w 14438"/>
              <a:gd name="T115" fmla="*/ 2237 h 10806"/>
              <a:gd name="T116" fmla="*/ 14437 w 14438"/>
              <a:gd name="T117" fmla="*/ 5189 h 10806"/>
              <a:gd name="T118" fmla="*/ 5417 w 14438"/>
              <a:gd name="T119" fmla="*/ 8122 h 10806"/>
              <a:gd name="T120" fmla="*/ 5417 w 14438"/>
              <a:gd name="T121" fmla="*/ 2686 h 108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14438" h="10806">
                <a:moveTo>
                  <a:pt x="14437" y="5994"/>
                </a:moveTo>
                <a:lnTo>
                  <a:pt x="14325" y="8118"/>
                </a:lnTo>
                <a:lnTo>
                  <a:pt x="14284" y="8472"/>
                </a:lnTo>
                <a:lnTo>
                  <a:pt x="14255" y="8647"/>
                </a:lnTo>
                <a:lnTo>
                  <a:pt x="14222" y="8821"/>
                </a:lnTo>
                <a:lnTo>
                  <a:pt x="14181" y="8993"/>
                </a:lnTo>
                <a:lnTo>
                  <a:pt x="14133" y="9164"/>
                </a:lnTo>
                <a:lnTo>
                  <a:pt x="14077" y="9332"/>
                </a:lnTo>
                <a:lnTo>
                  <a:pt x="14013" y="9499"/>
                </a:lnTo>
                <a:lnTo>
                  <a:pt x="13964" y="9609"/>
                </a:lnTo>
                <a:lnTo>
                  <a:pt x="13910" y="9714"/>
                </a:lnTo>
                <a:lnTo>
                  <a:pt x="13852" y="9813"/>
                </a:lnTo>
                <a:lnTo>
                  <a:pt x="13789" y="9907"/>
                </a:lnTo>
                <a:lnTo>
                  <a:pt x="13721" y="9995"/>
                </a:lnTo>
                <a:lnTo>
                  <a:pt x="13649" y="10078"/>
                </a:lnTo>
                <a:lnTo>
                  <a:pt x="13572" y="10155"/>
                </a:lnTo>
                <a:lnTo>
                  <a:pt x="13491" y="10226"/>
                </a:lnTo>
                <a:lnTo>
                  <a:pt x="13405" y="10292"/>
                </a:lnTo>
                <a:lnTo>
                  <a:pt x="13315" y="10352"/>
                </a:lnTo>
                <a:lnTo>
                  <a:pt x="13220" y="10406"/>
                </a:lnTo>
                <a:lnTo>
                  <a:pt x="13120" y="10454"/>
                </a:lnTo>
                <a:lnTo>
                  <a:pt x="13016" y="10497"/>
                </a:lnTo>
                <a:lnTo>
                  <a:pt x="12907" y="10533"/>
                </a:lnTo>
                <a:lnTo>
                  <a:pt x="12795" y="10564"/>
                </a:lnTo>
                <a:lnTo>
                  <a:pt x="12677" y="10588"/>
                </a:lnTo>
                <a:lnTo>
                  <a:pt x="12403" y="10631"/>
                </a:lnTo>
                <a:lnTo>
                  <a:pt x="12127" y="10662"/>
                </a:lnTo>
                <a:lnTo>
                  <a:pt x="11849" y="10683"/>
                </a:lnTo>
                <a:lnTo>
                  <a:pt x="11571" y="10696"/>
                </a:lnTo>
                <a:lnTo>
                  <a:pt x="7794" y="10805"/>
                </a:lnTo>
                <a:lnTo>
                  <a:pt x="4552" y="10756"/>
                </a:lnTo>
                <a:lnTo>
                  <a:pt x="2034" y="10612"/>
                </a:lnTo>
                <a:lnTo>
                  <a:pt x="1876" y="10594"/>
                </a:lnTo>
                <a:lnTo>
                  <a:pt x="1725" y="10567"/>
                </a:lnTo>
                <a:lnTo>
                  <a:pt x="1581" y="10531"/>
                </a:lnTo>
                <a:lnTo>
                  <a:pt x="1442" y="10487"/>
                </a:lnTo>
                <a:lnTo>
                  <a:pt x="1311" y="10434"/>
                </a:lnTo>
                <a:lnTo>
                  <a:pt x="1186" y="10372"/>
                </a:lnTo>
                <a:lnTo>
                  <a:pt x="1068" y="10302"/>
                </a:lnTo>
                <a:lnTo>
                  <a:pt x="957" y="10222"/>
                </a:lnTo>
                <a:lnTo>
                  <a:pt x="853" y="10133"/>
                </a:lnTo>
                <a:lnTo>
                  <a:pt x="756" y="10035"/>
                </a:lnTo>
                <a:lnTo>
                  <a:pt x="666" y="9927"/>
                </a:lnTo>
                <a:lnTo>
                  <a:pt x="584" y="9811"/>
                </a:lnTo>
                <a:lnTo>
                  <a:pt x="508" y="9685"/>
                </a:lnTo>
                <a:lnTo>
                  <a:pt x="440" y="9549"/>
                </a:lnTo>
                <a:lnTo>
                  <a:pt x="380" y="9404"/>
                </a:lnTo>
                <a:lnTo>
                  <a:pt x="327" y="9249"/>
                </a:lnTo>
                <a:lnTo>
                  <a:pt x="265" y="9025"/>
                </a:lnTo>
                <a:lnTo>
                  <a:pt x="215" y="8800"/>
                </a:lnTo>
                <a:lnTo>
                  <a:pt x="174" y="8573"/>
                </a:lnTo>
                <a:lnTo>
                  <a:pt x="142" y="8345"/>
                </a:lnTo>
                <a:lnTo>
                  <a:pt x="96" y="7888"/>
                </a:lnTo>
                <a:lnTo>
                  <a:pt x="60" y="7429"/>
                </a:lnTo>
                <a:lnTo>
                  <a:pt x="0" y="6548"/>
                </a:lnTo>
                <a:lnTo>
                  <a:pt x="0" y="4261"/>
                </a:lnTo>
                <a:lnTo>
                  <a:pt x="13" y="4207"/>
                </a:lnTo>
                <a:lnTo>
                  <a:pt x="19" y="4179"/>
                </a:lnTo>
                <a:lnTo>
                  <a:pt x="21" y="4166"/>
                </a:lnTo>
                <a:lnTo>
                  <a:pt x="22" y="4152"/>
                </a:lnTo>
                <a:lnTo>
                  <a:pt x="89" y="2970"/>
                </a:lnTo>
                <a:lnTo>
                  <a:pt x="124" y="2563"/>
                </a:lnTo>
                <a:lnTo>
                  <a:pt x="150" y="2361"/>
                </a:lnTo>
                <a:lnTo>
                  <a:pt x="181" y="2160"/>
                </a:lnTo>
                <a:lnTo>
                  <a:pt x="220" y="1960"/>
                </a:lnTo>
                <a:lnTo>
                  <a:pt x="268" y="1763"/>
                </a:lnTo>
                <a:lnTo>
                  <a:pt x="326" y="1567"/>
                </a:lnTo>
                <a:lnTo>
                  <a:pt x="394" y="1373"/>
                </a:lnTo>
                <a:lnTo>
                  <a:pt x="442" y="1257"/>
                </a:lnTo>
                <a:lnTo>
                  <a:pt x="495" y="1146"/>
                </a:lnTo>
                <a:lnTo>
                  <a:pt x="553" y="1040"/>
                </a:lnTo>
                <a:lnTo>
                  <a:pt x="616" y="940"/>
                </a:lnTo>
                <a:lnTo>
                  <a:pt x="684" y="846"/>
                </a:lnTo>
                <a:lnTo>
                  <a:pt x="756" y="757"/>
                </a:lnTo>
                <a:lnTo>
                  <a:pt x="833" y="675"/>
                </a:lnTo>
                <a:lnTo>
                  <a:pt x="916" y="598"/>
                </a:lnTo>
                <a:lnTo>
                  <a:pt x="1003" y="528"/>
                </a:lnTo>
                <a:lnTo>
                  <a:pt x="1095" y="464"/>
                </a:lnTo>
                <a:lnTo>
                  <a:pt x="1193" y="406"/>
                </a:lnTo>
                <a:lnTo>
                  <a:pt x="1295" y="355"/>
                </a:lnTo>
                <a:lnTo>
                  <a:pt x="1402" y="310"/>
                </a:lnTo>
                <a:lnTo>
                  <a:pt x="1515" y="272"/>
                </a:lnTo>
                <a:lnTo>
                  <a:pt x="1632" y="241"/>
                </a:lnTo>
                <a:lnTo>
                  <a:pt x="1755" y="217"/>
                </a:lnTo>
                <a:lnTo>
                  <a:pt x="2137" y="163"/>
                </a:lnTo>
                <a:lnTo>
                  <a:pt x="2523" y="126"/>
                </a:lnTo>
                <a:lnTo>
                  <a:pt x="2910" y="101"/>
                </a:lnTo>
                <a:lnTo>
                  <a:pt x="3297" y="84"/>
                </a:lnTo>
                <a:lnTo>
                  <a:pt x="6666" y="0"/>
                </a:lnTo>
                <a:lnTo>
                  <a:pt x="10458" y="57"/>
                </a:lnTo>
                <a:lnTo>
                  <a:pt x="11514" y="105"/>
                </a:lnTo>
                <a:lnTo>
                  <a:pt x="12041" y="144"/>
                </a:lnTo>
                <a:lnTo>
                  <a:pt x="12567" y="195"/>
                </a:lnTo>
                <a:lnTo>
                  <a:pt x="12686" y="211"/>
                </a:lnTo>
                <a:lnTo>
                  <a:pt x="12800" y="233"/>
                </a:lnTo>
                <a:lnTo>
                  <a:pt x="12911" y="262"/>
                </a:lnTo>
                <a:lnTo>
                  <a:pt x="13019" y="297"/>
                </a:lnTo>
                <a:lnTo>
                  <a:pt x="13122" y="339"/>
                </a:lnTo>
                <a:lnTo>
                  <a:pt x="13221" y="386"/>
                </a:lnTo>
                <a:lnTo>
                  <a:pt x="13316" y="440"/>
                </a:lnTo>
                <a:lnTo>
                  <a:pt x="13406" y="500"/>
                </a:lnTo>
                <a:lnTo>
                  <a:pt x="13493" y="567"/>
                </a:lnTo>
                <a:lnTo>
                  <a:pt x="13574" y="639"/>
                </a:lnTo>
                <a:lnTo>
                  <a:pt x="13651" y="718"/>
                </a:lnTo>
                <a:lnTo>
                  <a:pt x="13723" y="803"/>
                </a:lnTo>
                <a:lnTo>
                  <a:pt x="13790" y="894"/>
                </a:lnTo>
                <a:lnTo>
                  <a:pt x="13852" y="991"/>
                </a:lnTo>
                <a:lnTo>
                  <a:pt x="13909" y="1094"/>
                </a:lnTo>
                <a:lnTo>
                  <a:pt x="13960" y="1203"/>
                </a:lnTo>
                <a:lnTo>
                  <a:pt x="14062" y="1453"/>
                </a:lnTo>
                <a:lnTo>
                  <a:pt x="14108" y="1581"/>
                </a:lnTo>
                <a:lnTo>
                  <a:pt x="14150" y="1710"/>
                </a:lnTo>
                <a:lnTo>
                  <a:pt x="14187" y="1841"/>
                </a:lnTo>
                <a:lnTo>
                  <a:pt x="14218" y="1973"/>
                </a:lnTo>
                <a:lnTo>
                  <a:pt x="14242" y="2105"/>
                </a:lnTo>
                <a:lnTo>
                  <a:pt x="14260" y="2237"/>
                </a:lnTo>
                <a:lnTo>
                  <a:pt x="14427" y="4739"/>
                </a:lnTo>
                <a:lnTo>
                  <a:pt x="14437" y="5189"/>
                </a:lnTo>
                <a:lnTo>
                  <a:pt x="14437" y="5994"/>
                </a:lnTo>
                <a:close/>
                <a:moveTo>
                  <a:pt x="5417" y="8122"/>
                </a:moveTo>
                <a:lnTo>
                  <a:pt x="9947" y="5404"/>
                </a:lnTo>
                <a:lnTo>
                  <a:pt x="5417" y="2686"/>
                </a:lnTo>
                <a:lnTo>
                  <a:pt x="5417" y="8122"/>
                </a:lnTo>
                <a:close/>
              </a:path>
            </a:pathLst>
          </a:custGeom>
          <a:solidFill>
            <a:srgbClr val="123563"/>
          </a:solidFill>
          <a:ln>
            <a:noFill/>
          </a:ln>
          <a:effectLst/>
        </p:spPr>
        <p:txBody>
          <a:bodyPr wrap="none" anchor="ctr"/>
          <a:lstStyle/>
          <a:p>
            <a:endParaRPr lang="de-DE" sz="1800" dirty="0">
              <a:latin typeface="BISansOpti"/>
            </a:endParaRPr>
          </a:p>
        </p:txBody>
      </p:sp>
      <p:sp>
        <p:nvSpPr>
          <p:cNvPr id="16" name="Freeform 2"/>
          <p:cNvSpPr>
            <a:spLocks noChangeAspect="1" noChangeArrowheads="1"/>
          </p:cNvSpPr>
          <p:nvPr userDrawn="1"/>
        </p:nvSpPr>
        <p:spPr bwMode="auto">
          <a:xfrm>
            <a:off x="3083277" y="1653427"/>
            <a:ext cx="383999" cy="495188"/>
          </a:xfrm>
          <a:custGeom>
            <a:avLst/>
            <a:gdLst>
              <a:gd name="T0" fmla="*/ 3118 w 9837"/>
              <a:gd name="T1" fmla="*/ 11425 h 12686"/>
              <a:gd name="T2" fmla="*/ 2294 w 9837"/>
              <a:gd name="T3" fmla="*/ 12646 h 12686"/>
              <a:gd name="T4" fmla="*/ 2234 w 9837"/>
              <a:gd name="T5" fmla="*/ 12679 h 12686"/>
              <a:gd name="T6" fmla="*/ 2189 w 9837"/>
              <a:gd name="T7" fmla="*/ 12684 h 12686"/>
              <a:gd name="T8" fmla="*/ 2154 w 9837"/>
              <a:gd name="T9" fmla="*/ 12659 h 12686"/>
              <a:gd name="T10" fmla="*/ 2115 w 9837"/>
              <a:gd name="T11" fmla="*/ 12581 h 12686"/>
              <a:gd name="T12" fmla="*/ 2014 w 9837"/>
              <a:gd name="T13" fmla="*/ 11008 h 12686"/>
              <a:gd name="T14" fmla="*/ 3053 w 9837"/>
              <a:gd name="T15" fmla="*/ 5966 h 12686"/>
              <a:gd name="T16" fmla="*/ 3042 w 9837"/>
              <a:gd name="T17" fmla="*/ 5815 h 12686"/>
              <a:gd name="T18" fmla="*/ 2842 w 9837"/>
              <a:gd name="T19" fmla="*/ 4798 h 12686"/>
              <a:gd name="T20" fmla="*/ 3098 w 9837"/>
              <a:gd name="T21" fmla="*/ 3624 h 12686"/>
              <a:gd name="T22" fmla="*/ 3521 w 9837"/>
              <a:gd name="T23" fmla="*/ 3104 h 12686"/>
              <a:gd name="T24" fmla="*/ 4132 w 9837"/>
              <a:gd name="T25" fmla="*/ 2846 h 12686"/>
              <a:gd name="T26" fmla="*/ 4671 w 9837"/>
              <a:gd name="T27" fmla="*/ 2922 h 12686"/>
              <a:gd name="T28" fmla="*/ 5025 w 9837"/>
              <a:gd name="T29" fmla="*/ 3211 h 12686"/>
              <a:gd name="T30" fmla="*/ 5210 w 9837"/>
              <a:gd name="T31" fmla="*/ 3670 h 12686"/>
              <a:gd name="T32" fmla="*/ 5155 w 9837"/>
              <a:gd name="T33" fmla="*/ 4529 h 12686"/>
              <a:gd name="T34" fmla="*/ 4590 w 9837"/>
              <a:gd name="T35" fmla="*/ 7081 h 12686"/>
              <a:gd name="T36" fmla="*/ 5138 w 9837"/>
              <a:gd name="T37" fmla="*/ 7774 h 12686"/>
              <a:gd name="T38" fmla="*/ 6107 w 9837"/>
              <a:gd name="T39" fmla="*/ 7877 h 12686"/>
              <a:gd name="T40" fmla="*/ 6907 w 9837"/>
              <a:gd name="T41" fmla="*/ 7429 h 12686"/>
              <a:gd name="T42" fmla="*/ 7658 w 9837"/>
              <a:gd name="T43" fmla="*/ 6268 h 12686"/>
              <a:gd name="T44" fmla="*/ 8036 w 9837"/>
              <a:gd name="T45" fmla="*/ 4561 h 12686"/>
              <a:gd name="T46" fmla="*/ 7946 w 9837"/>
              <a:gd name="T47" fmla="*/ 3244 h 12686"/>
              <a:gd name="T48" fmla="*/ 7471 w 9837"/>
              <a:gd name="T49" fmla="*/ 2262 h 12686"/>
              <a:gd name="T50" fmla="*/ 6646 w 9837"/>
              <a:gd name="T51" fmla="*/ 1607 h 12686"/>
              <a:gd name="T52" fmla="*/ 5184 w 9837"/>
              <a:gd name="T53" fmla="*/ 1253 h 12686"/>
              <a:gd name="T54" fmla="*/ 3867 w 9837"/>
              <a:gd name="T55" fmla="*/ 1402 h 12686"/>
              <a:gd name="T56" fmla="*/ 2664 w 9837"/>
              <a:gd name="T57" fmla="*/ 2075 h 12686"/>
              <a:gd name="T58" fmla="*/ 1782 w 9837"/>
              <a:gd name="T59" fmla="*/ 3159 h 12686"/>
              <a:gd name="T60" fmla="*/ 1441 w 9837"/>
              <a:gd name="T61" fmla="*/ 4444 h 12686"/>
              <a:gd name="T62" fmla="*/ 1565 w 9837"/>
              <a:gd name="T63" fmla="*/ 5601 h 12686"/>
              <a:gd name="T64" fmla="*/ 1877 w 9837"/>
              <a:gd name="T65" fmla="*/ 6126 h 12686"/>
              <a:gd name="T66" fmla="*/ 2001 w 9837"/>
              <a:gd name="T67" fmla="*/ 6319 h 12686"/>
              <a:gd name="T68" fmla="*/ 2029 w 9837"/>
              <a:gd name="T69" fmla="*/ 6526 h 12686"/>
              <a:gd name="T70" fmla="*/ 1959 w 9837"/>
              <a:gd name="T71" fmla="*/ 6794 h 12686"/>
              <a:gd name="T72" fmla="*/ 1816 w 9837"/>
              <a:gd name="T73" fmla="*/ 7275 h 12686"/>
              <a:gd name="T74" fmla="*/ 1678 w 9837"/>
              <a:gd name="T75" fmla="*/ 7368 h 12686"/>
              <a:gd name="T76" fmla="*/ 1479 w 9837"/>
              <a:gd name="T77" fmla="*/ 7335 h 12686"/>
              <a:gd name="T78" fmla="*/ 785 w 9837"/>
              <a:gd name="T79" fmla="*/ 6867 h 12686"/>
              <a:gd name="T80" fmla="*/ 124 w 9837"/>
              <a:gd name="T81" fmla="*/ 5565 h 12686"/>
              <a:gd name="T82" fmla="*/ 8 w 9837"/>
              <a:gd name="T83" fmla="*/ 4355 h 12686"/>
              <a:gd name="T84" fmla="*/ 473 w 9837"/>
              <a:gd name="T85" fmla="*/ 2695 h 12686"/>
              <a:gd name="T86" fmla="*/ 1407 w 9837"/>
              <a:gd name="T87" fmla="*/ 1407 h 12686"/>
              <a:gd name="T88" fmla="*/ 2703 w 9837"/>
              <a:gd name="T89" fmla="*/ 537 h 12686"/>
              <a:gd name="T90" fmla="*/ 5376 w 9837"/>
              <a:gd name="T91" fmla="*/ 0 h 12686"/>
              <a:gd name="T92" fmla="*/ 7729 w 9837"/>
              <a:gd name="T93" fmla="*/ 664 h 12686"/>
              <a:gd name="T94" fmla="*/ 8900 w 9837"/>
              <a:gd name="T95" fmla="*/ 1632 h 12686"/>
              <a:gd name="T96" fmla="*/ 9626 w 9837"/>
              <a:gd name="T97" fmla="*/ 2968 h 12686"/>
              <a:gd name="T98" fmla="*/ 9835 w 9837"/>
              <a:gd name="T99" fmla="*/ 4374 h 12686"/>
              <a:gd name="T100" fmla="*/ 9529 w 9837"/>
              <a:gd name="T101" fmla="*/ 6232 h 12686"/>
              <a:gd name="T102" fmla="*/ 8493 w 9837"/>
              <a:gd name="T103" fmla="*/ 8045 h 12686"/>
              <a:gd name="T104" fmla="*/ 7525 w 9837"/>
              <a:gd name="T105" fmla="*/ 8795 h 12686"/>
              <a:gd name="T106" fmla="*/ 6357 w 9837"/>
              <a:gd name="T107" fmla="*/ 9150 h 12686"/>
              <a:gd name="T108" fmla="*/ 5273 w 9837"/>
              <a:gd name="T109" fmla="*/ 9099 h 12686"/>
              <a:gd name="T110" fmla="*/ 4591 w 9837"/>
              <a:gd name="T111" fmla="*/ 8776 h 126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9837" h="12686">
                <a:moveTo>
                  <a:pt x="4115" y="8296"/>
                </a:moveTo>
                <a:lnTo>
                  <a:pt x="3659" y="10080"/>
                </a:lnTo>
                <a:lnTo>
                  <a:pt x="3556" y="10434"/>
                </a:lnTo>
                <a:lnTo>
                  <a:pt x="3431" y="10775"/>
                </a:lnTo>
                <a:lnTo>
                  <a:pt x="3284" y="11105"/>
                </a:lnTo>
                <a:lnTo>
                  <a:pt x="3118" y="11425"/>
                </a:lnTo>
                <a:lnTo>
                  <a:pt x="2936" y="11736"/>
                </a:lnTo>
                <a:lnTo>
                  <a:pt x="2740" y="12039"/>
                </a:lnTo>
                <a:lnTo>
                  <a:pt x="2313" y="12628"/>
                </a:lnTo>
                <a:lnTo>
                  <a:pt x="2307" y="12634"/>
                </a:lnTo>
                <a:lnTo>
                  <a:pt x="2301" y="12640"/>
                </a:lnTo>
                <a:lnTo>
                  <a:pt x="2294" y="12646"/>
                </a:lnTo>
                <a:lnTo>
                  <a:pt x="2286" y="12652"/>
                </a:lnTo>
                <a:lnTo>
                  <a:pt x="2278" y="12658"/>
                </a:lnTo>
                <a:lnTo>
                  <a:pt x="2270" y="12663"/>
                </a:lnTo>
                <a:lnTo>
                  <a:pt x="2252" y="12672"/>
                </a:lnTo>
                <a:lnTo>
                  <a:pt x="2243" y="12676"/>
                </a:lnTo>
                <a:lnTo>
                  <a:pt x="2234" y="12679"/>
                </a:lnTo>
                <a:lnTo>
                  <a:pt x="2225" y="12682"/>
                </a:lnTo>
                <a:lnTo>
                  <a:pt x="2216" y="12684"/>
                </a:lnTo>
                <a:lnTo>
                  <a:pt x="2207" y="12685"/>
                </a:lnTo>
                <a:lnTo>
                  <a:pt x="2200" y="12685"/>
                </a:lnTo>
                <a:lnTo>
                  <a:pt x="2192" y="12685"/>
                </a:lnTo>
                <a:lnTo>
                  <a:pt x="2189" y="12684"/>
                </a:lnTo>
                <a:lnTo>
                  <a:pt x="2186" y="12683"/>
                </a:lnTo>
                <a:lnTo>
                  <a:pt x="2179" y="12680"/>
                </a:lnTo>
                <a:lnTo>
                  <a:pt x="2173" y="12676"/>
                </a:lnTo>
                <a:lnTo>
                  <a:pt x="2166" y="12671"/>
                </a:lnTo>
                <a:lnTo>
                  <a:pt x="2160" y="12666"/>
                </a:lnTo>
                <a:lnTo>
                  <a:pt x="2154" y="12659"/>
                </a:lnTo>
                <a:lnTo>
                  <a:pt x="2148" y="12652"/>
                </a:lnTo>
                <a:lnTo>
                  <a:pt x="2143" y="12644"/>
                </a:lnTo>
                <a:lnTo>
                  <a:pt x="2138" y="12636"/>
                </a:lnTo>
                <a:lnTo>
                  <a:pt x="2129" y="12618"/>
                </a:lnTo>
                <a:lnTo>
                  <a:pt x="2121" y="12600"/>
                </a:lnTo>
                <a:lnTo>
                  <a:pt x="2115" y="12581"/>
                </a:lnTo>
                <a:lnTo>
                  <a:pt x="2113" y="12573"/>
                </a:lnTo>
                <a:lnTo>
                  <a:pt x="2112" y="12564"/>
                </a:lnTo>
                <a:lnTo>
                  <a:pt x="2063" y="12174"/>
                </a:lnTo>
                <a:lnTo>
                  <a:pt x="2030" y="11785"/>
                </a:lnTo>
                <a:lnTo>
                  <a:pt x="2013" y="11396"/>
                </a:lnTo>
                <a:lnTo>
                  <a:pt x="2014" y="11008"/>
                </a:lnTo>
                <a:lnTo>
                  <a:pt x="2034" y="10620"/>
                </a:lnTo>
                <a:lnTo>
                  <a:pt x="2075" y="10233"/>
                </a:lnTo>
                <a:lnTo>
                  <a:pt x="2139" y="9846"/>
                </a:lnTo>
                <a:lnTo>
                  <a:pt x="2226" y="9459"/>
                </a:lnTo>
                <a:lnTo>
                  <a:pt x="3051" y="5979"/>
                </a:lnTo>
                <a:lnTo>
                  <a:pt x="3053" y="5966"/>
                </a:lnTo>
                <a:lnTo>
                  <a:pt x="3055" y="5953"/>
                </a:lnTo>
                <a:lnTo>
                  <a:pt x="3057" y="5926"/>
                </a:lnTo>
                <a:lnTo>
                  <a:pt x="3056" y="5898"/>
                </a:lnTo>
                <a:lnTo>
                  <a:pt x="3053" y="5871"/>
                </a:lnTo>
                <a:lnTo>
                  <a:pt x="3049" y="5843"/>
                </a:lnTo>
                <a:lnTo>
                  <a:pt x="3042" y="5815"/>
                </a:lnTo>
                <a:lnTo>
                  <a:pt x="3035" y="5788"/>
                </a:lnTo>
                <a:lnTo>
                  <a:pt x="3027" y="5763"/>
                </a:lnTo>
                <a:lnTo>
                  <a:pt x="2952" y="5522"/>
                </a:lnTo>
                <a:lnTo>
                  <a:pt x="2895" y="5281"/>
                </a:lnTo>
                <a:lnTo>
                  <a:pt x="2858" y="5040"/>
                </a:lnTo>
                <a:lnTo>
                  <a:pt x="2842" y="4798"/>
                </a:lnTo>
                <a:lnTo>
                  <a:pt x="2848" y="4557"/>
                </a:lnTo>
                <a:lnTo>
                  <a:pt x="2876" y="4315"/>
                </a:lnTo>
                <a:lnTo>
                  <a:pt x="2929" y="4073"/>
                </a:lnTo>
                <a:lnTo>
                  <a:pt x="3007" y="3832"/>
                </a:lnTo>
                <a:lnTo>
                  <a:pt x="3050" y="3726"/>
                </a:lnTo>
                <a:lnTo>
                  <a:pt x="3098" y="3624"/>
                </a:lnTo>
                <a:lnTo>
                  <a:pt x="3153" y="3526"/>
                </a:lnTo>
                <a:lnTo>
                  <a:pt x="3213" y="3432"/>
                </a:lnTo>
                <a:lnTo>
                  <a:pt x="3280" y="3343"/>
                </a:lnTo>
                <a:lnTo>
                  <a:pt x="3354" y="3258"/>
                </a:lnTo>
                <a:lnTo>
                  <a:pt x="3434" y="3178"/>
                </a:lnTo>
                <a:lnTo>
                  <a:pt x="3521" y="3104"/>
                </a:lnTo>
                <a:lnTo>
                  <a:pt x="3614" y="3035"/>
                </a:lnTo>
                <a:lnTo>
                  <a:pt x="3711" y="2977"/>
                </a:lnTo>
                <a:lnTo>
                  <a:pt x="3812" y="2929"/>
                </a:lnTo>
                <a:lnTo>
                  <a:pt x="3915" y="2891"/>
                </a:lnTo>
                <a:lnTo>
                  <a:pt x="4022" y="2863"/>
                </a:lnTo>
                <a:lnTo>
                  <a:pt x="4132" y="2846"/>
                </a:lnTo>
                <a:lnTo>
                  <a:pt x="4245" y="2840"/>
                </a:lnTo>
                <a:lnTo>
                  <a:pt x="4362" y="2844"/>
                </a:lnTo>
                <a:lnTo>
                  <a:pt x="4443" y="2854"/>
                </a:lnTo>
                <a:lnTo>
                  <a:pt x="4522" y="2870"/>
                </a:lnTo>
                <a:lnTo>
                  <a:pt x="4598" y="2893"/>
                </a:lnTo>
                <a:lnTo>
                  <a:pt x="4671" y="2922"/>
                </a:lnTo>
                <a:lnTo>
                  <a:pt x="4739" y="2956"/>
                </a:lnTo>
                <a:lnTo>
                  <a:pt x="4805" y="2997"/>
                </a:lnTo>
                <a:lnTo>
                  <a:pt x="4866" y="3043"/>
                </a:lnTo>
                <a:lnTo>
                  <a:pt x="4923" y="3094"/>
                </a:lnTo>
                <a:lnTo>
                  <a:pt x="4976" y="3150"/>
                </a:lnTo>
                <a:lnTo>
                  <a:pt x="5025" y="3211"/>
                </a:lnTo>
                <a:lnTo>
                  <a:pt x="5068" y="3277"/>
                </a:lnTo>
                <a:lnTo>
                  <a:pt x="5107" y="3348"/>
                </a:lnTo>
                <a:lnTo>
                  <a:pt x="5141" y="3422"/>
                </a:lnTo>
                <a:lnTo>
                  <a:pt x="5170" y="3501"/>
                </a:lnTo>
                <a:lnTo>
                  <a:pt x="5193" y="3584"/>
                </a:lnTo>
                <a:lnTo>
                  <a:pt x="5210" y="3670"/>
                </a:lnTo>
                <a:lnTo>
                  <a:pt x="5228" y="3816"/>
                </a:lnTo>
                <a:lnTo>
                  <a:pt x="5232" y="3961"/>
                </a:lnTo>
                <a:lnTo>
                  <a:pt x="5226" y="4105"/>
                </a:lnTo>
                <a:lnTo>
                  <a:pt x="5209" y="4247"/>
                </a:lnTo>
                <a:lnTo>
                  <a:pt x="5185" y="4389"/>
                </a:lnTo>
                <a:lnTo>
                  <a:pt x="5155" y="4529"/>
                </a:lnTo>
                <a:lnTo>
                  <a:pt x="5082" y="4809"/>
                </a:lnTo>
                <a:lnTo>
                  <a:pt x="4617" y="6403"/>
                </a:lnTo>
                <a:lnTo>
                  <a:pt x="4574" y="6584"/>
                </a:lnTo>
                <a:lnTo>
                  <a:pt x="4556" y="6758"/>
                </a:lnTo>
                <a:lnTo>
                  <a:pt x="4562" y="6924"/>
                </a:lnTo>
                <a:lnTo>
                  <a:pt x="4590" y="7081"/>
                </a:lnTo>
                <a:lnTo>
                  <a:pt x="4639" y="7228"/>
                </a:lnTo>
                <a:lnTo>
                  <a:pt x="4706" y="7364"/>
                </a:lnTo>
                <a:lnTo>
                  <a:pt x="4791" y="7487"/>
                </a:lnTo>
                <a:lnTo>
                  <a:pt x="4892" y="7598"/>
                </a:lnTo>
                <a:lnTo>
                  <a:pt x="5008" y="7693"/>
                </a:lnTo>
                <a:lnTo>
                  <a:pt x="5138" y="7774"/>
                </a:lnTo>
                <a:lnTo>
                  <a:pt x="5278" y="7838"/>
                </a:lnTo>
                <a:lnTo>
                  <a:pt x="5430" y="7885"/>
                </a:lnTo>
                <a:lnTo>
                  <a:pt x="5589" y="7914"/>
                </a:lnTo>
                <a:lnTo>
                  <a:pt x="5757" y="7922"/>
                </a:lnTo>
                <a:lnTo>
                  <a:pt x="5930" y="7911"/>
                </a:lnTo>
                <a:lnTo>
                  <a:pt x="6107" y="7877"/>
                </a:lnTo>
                <a:lnTo>
                  <a:pt x="6260" y="7832"/>
                </a:lnTo>
                <a:lnTo>
                  <a:pt x="6405" y="7774"/>
                </a:lnTo>
                <a:lnTo>
                  <a:pt x="6541" y="7704"/>
                </a:lnTo>
                <a:lnTo>
                  <a:pt x="6670" y="7623"/>
                </a:lnTo>
                <a:lnTo>
                  <a:pt x="6792" y="7531"/>
                </a:lnTo>
                <a:lnTo>
                  <a:pt x="6907" y="7429"/>
                </a:lnTo>
                <a:lnTo>
                  <a:pt x="7016" y="7318"/>
                </a:lnTo>
                <a:lnTo>
                  <a:pt x="7118" y="7198"/>
                </a:lnTo>
                <a:lnTo>
                  <a:pt x="7282" y="6978"/>
                </a:lnTo>
                <a:lnTo>
                  <a:pt x="7426" y="6749"/>
                </a:lnTo>
                <a:lnTo>
                  <a:pt x="7551" y="6512"/>
                </a:lnTo>
                <a:lnTo>
                  <a:pt x="7658" y="6268"/>
                </a:lnTo>
                <a:lnTo>
                  <a:pt x="7749" y="6017"/>
                </a:lnTo>
                <a:lnTo>
                  <a:pt x="7826" y="5760"/>
                </a:lnTo>
                <a:lnTo>
                  <a:pt x="7890" y="5498"/>
                </a:lnTo>
                <a:lnTo>
                  <a:pt x="7943" y="5232"/>
                </a:lnTo>
                <a:lnTo>
                  <a:pt x="8012" y="4785"/>
                </a:lnTo>
                <a:lnTo>
                  <a:pt x="8036" y="4561"/>
                </a:lnTo>
                <a:lnTo>
                  <a:pt x="8052" y="4336"/>
                </a:lnTo>
                <a:lnTo>
                  <a:pt x="8056" y="4111"/>
                </a:lnTo>
                <a:lnTo>
                  <a:pt x="8048" y="3887"/>
                </a:lnTo>
                <a:lnTo>
                  <a:pt x="8027" y="3662"/>
                </a:lnTo>
                <a:lnTo>
                  <a:pt x="7990" y="3438"/>
                </a:lnTo>
                <a:lnTo>
                  <a:pt x="7946" y="3244"/>
                </a:lnTo>
                <a:lnTo>
                  <a:pt x="7891" y="3058"/>
                </a:lnTo>
                <a:lnTo>
                  <a:pt x="7827" y="2881"/>
                </a:lnTo>
                <a:lnTo>
                  <a:pt x="7752" y="2713"/>
                </a:lnTo>
                <a:lnTo>
                  <a:pt x="7668" y="2554"/>
                </a:lnTo>
                <a:lnTo>
                  <a:pt x="7574" y="2403"/>
                </a:lnTo>
                <a:lnTo>
                  <a:pt x="7471" y="2262"/>
                </a:lnTo>
                <a:lnTo>
                  <a:pt x="7357" y="2130"/>
                </a:lnTo>
                <a:lnTo>
                  <a:pt x="7234" y="2006"/>
                </a:lnTo>
                <a:lnTo>
                  <a:pt x="7101" y="1892"/>
                </a:lnTo>
                <a:lnTo>
                  <a:pt x="6959" y="1788"/>
                </a:lnTo>
                <a:lnTo>
                  <a:pt x="6807" y="1693"/>
                </a:lnTo>
                <a:lnTo>
                  <a:pt x="6646" y="1607"/>
                </a:lnTo>
                <a:lnTo>
                  <a:pt x="6475" y="1531"/>
                </a:lnTo>
                <a:lnTo>
                  <a:pt x="6295" y="1464"/>
                </a:lnTo>
                <a:lnTo>
                  <a:pt x="6105" y="1408"/>
                </a:lnTo>
                <a:lnTo>
                  <a:pt x="5642" y="1307"/>
                </a:lnTo>
                <a:lnTo>
                  <a:pt x="5412" y="1273"/>
                </a:lnTo>
                <a:lnTo>
                  <a:pt x="5184" y="1253"/>
                </a:lnTo>
                <a:lnTo>
                  <a:pt x="4959" y="1244"/>
                </a:lnTo>
                <a:lnTo>
                  <a:pt x="4735" y="1249"/>
                </a:lnTo>
                <a:lnTo>
                  <a:pt x="4514" y="1266"/>
                </a:lnTo>
                <a:lnTo>
                  <a:pt x="4296" y="1298"/>
                </a:lnTo>
                <a:lnTo>
                  <a:pt x="4080" y="1343"/>
                </a:lnTo>
                <a:lnTo>
                  <a:pt x="3867" y="1402"/>
                </a:lnTo>
                <a:lnTo>
                  <a:pt x="3658" y="1476"/>
                </a:lnTo>
                <a:lnTo>
                  <a:pt x="3451" y="1565"/>
                </a:lnTo>
                <a:lnTo>
                  <a:pt x="3249" y="1669"/>
                </a:lnTo>
                <a:lnTo>
                  <a:pt x="3050" y="1788"/>
                </a:lnTo>
                <a:lnTo>
                  <a:pt x="2855" y="1923"/>
                </a:lnTo>
                <a:lnTo>
                  <a:pt x="2664" y="2075"/>
                </a:lnTo>
                <a:lnTo>
                  <a:pt x="2479" y="2241"/>
                </a:lnTo>
                <a:lnTo>
                  <a:pt x="2309" y="2413"/>
                </a:lnTo>
                <a:lnTo>
                  <a:pt x="2155" y="2590"/>
                </a:lnTo>
                <a:lnTo>
                  <a:pt x="2015" y="2774"/>
                </a:lnTo>
                <a:lnTo>
                  <a:pt x="1891" y="2964"/>
                </a:lnTo>
                <a:lnTo>
                  <a:pt x="1782" y="3159"/>
                </a:lnTo>
                <a:lnTo>
                  <a:pt x="1687" y="3360"/>
                </a:lnTo>
                <a:lnTo>
                  <a:pt x="1608" y="3566"/>
                </a:lnTo>
                <a:lnTo>
                  <a:pt x="1544" y="3778"/>
                </a:lnTo>
                <a:lnTo>
                  <a:pt x="1495" y="3995"/>
                </a:lnTo>
                <a:lnTo>
                  <a:pt x="1460" y="4217"/>
                </a:lnTo>
                <a:lnTo>
                  <a:pt x="1441" y="4444"/>
                </a:lnTo>
                <a:lnTo>
                  <a:pt x="1437" y="4677"/>
                </a:lnTo>
                <a:lnTo>
                  <a:pt x="1447" y="4914"/>
                </a:lnTo>
                <a:lnTo>
                  <a:pt x="1473" y="5156"/>
                </a:lnTo>
                <a:lnTo>
                  <a:pt x="1513" y="5403"/>
                </a:lnTo>
                <a:lnTo>
                  <a:pt x="1536" y="5503"/>
                </a:lnTo>
                <a:lnTo>
                  <a:pt x="1565" y="5601"/>
                </a:lnTo>
                <a:lnTo>
                  <a:pt x="1602" y="5697"/>
                </a:lnTo>
                <a:lnTo>
                  <a:pt x="1644" y="5789"/>
                </a:lnTo>
                <a:lnTo>
                  <a:pt x="1694" y="5879"/>
                </a:lnTo>
                <a:lnTo>
                  <a:pt x="1749" y="5965"/>
                </a:lnTo>
                <a:lnTo>
                  <a:pt x="1810" y="6047"/>
                </a:lnTo>
                <a:lnTo>
                  <a:pt x="1877" y="6126"/>
                </a:lnTo>
                <a:lnTo>
                  <a:pt x="1904" y="6157"/>
                </a:lnTo>
                <a:lnTo>
                  <a:pt x="1929" y="6189"/>
                </a:lnTo>
                <a:lnTo>
                  <a:pt x="1951" y="6221"/>
                </a:lnTo>
                <a:lnTo>
                  <a:pt x="1970" y="6253"/>
                </a:lnTo>
                <a:lnTo>
                  <a:pt x="1987" y="6286"/>
                </a:lnTo>
                <a:lnTo>
                  <a:pt x="2001" y="6319"/>
                </a:lnTo>
                <a:lnTo>
                  <a:pt x="2012" y="6352"/>
                </a:lnTo>
                <a:lnTo>
                  <a:pt x="2021" y="6386"/>
                </a:lnTo>
                <a:lnTo>
                  <a:pt x="2027" y="6420"/>
                </a:lnTo>
                <a:lnTo>
                  <a:pt x="2030" y="6455"/>
                </a:lnTo>
                <a:lnTo>
                  <a:pt x="2031" y="6490"/>
                </a:lnTo>
                <a:lnTo>
                  <a:pt x="2029" y="6526"/>
                </a:lnTo>
                <a:lnTo>
                  <a:pt x="2024" y="6563"/>
                </a:lnTo>
                <a:lnTo>
                  <a:pt x="2016" y="6601"/>
                </a:lnTo>
                <a:lnTo>
                  <a:pt x="2006" y="6640"/>
                </a:lnTo>
                <a:lnTo>
                  <a:pt x="1994" y="6679"/>
                </a:lnTo>
                <a:lnTo>
                  <a:pt x="1975" y="6736"/>
                </a:lnTo>
                <a:lnTo>
                  <a:pt x="1959" y="6794"/>
                </a:lnTo>
                <a:lnTo>
                  <a:pt x="1930" y="6910"/>
                </a:lnTo>
                <a:lnTo>
                  <a:pt x="1874" y="7142"/>
                </a:lnTo>
                <a:lnTo>
                  <a:pt x="1862" y="7181"/>
                </a:lnTo>
                <a:lnTo>
                  <a:pt x="1848" y="7215"/>
                </a:lnTo>
                <a:lnTo>
                  <a:pt x="1833" y="7247"/>
                </a:lnTo>
                <a:lnTo>
                  <a:pt x="1816" y="7275"/>
                </a:lnTo>
                <a:lnTo>
                  <a:pt x="1797" y="7299"/>
                </a:lnTo>
                <a:lnTo>
                  <a:pt x="1777" y="7320"/>
                </a:lnTo>
                <a:lnTo>
                  <a:pt x="1755" y="7337"/>
                </a:lnTo>
                <a:lnTo>
                  <a:pt x="1731" y="7351"/>
                </a:lnTo>
                <a:lnTo>
                  <a:pt x="1705" y="7361"/>
                </a:lnTo>
                <a:lnTo>
                  <a:pt x="1678" y="7368"/>
                </a:lnTo>
                <a:lnTo>
                  <a:pt x="1649" y="7372"/>
                </a:lnTo>
                <a:lnTo>
                  <a:pt x="1618" y="7372"/>
                </a:lnTo>
                <a:lnTo>
                  <a:pt x="1586" y="7368"/>
                </a:lnTo>
                <a:lnTo>
                  <a:pt x="1552" y="7361"/>
                </a:lnTo>
                <a:lnTo>
                  <a:pt x="1516" y="7350"/>
                </a:lnTo>
                <a:lnTo>
                  <a:pt x="1479" y="7335"/>
                </a:lnTo>
                <a:lnTo>
                  <a:pt x="1282" y="7241"/>
                </a:lnTo>
                <a:lnTo>
                  <a:pt x="1102" y="7132"/>
                </a:lnTo>
                <a:lnTo>
                  <a:pt x="1017" y="7071"/>
                </a:lnTo>
                <a:lnTo>
                  <a:pt x="936" y="7007"/>
                </a:lnTo>
                <a:lnTo>
                  <a:pt x="859" y="6939"/>
                </a:lnTo>
                <a:lnTo>
                  <a:pt x="785" y="6867"/>
                </a:lnTo>
                <a:lnTo>
                  <a:pt x="650" y="6713"/>
                </a:lnTo>
                <a:lnTo>
                  <a:pt x="529" y="6545"/>
                </a:lnTo>
                <a:lnTo>
                  <a:pt x="422" y="6364"/>
                </a:lnTo>
                <a:lnTo>
                  <a:pt x="330" y="6170"/>
                </a:lnTo>
                <a:lnTo>
                  <a:pt x="182" y="5767"/>
                </a:lnTo>
                <a:lnTo>
                  <a:pt x="124" y="5565"/>
                </a:lnTo>
                <a:lnTo>
                  <a:pt x="78" y="5363"/>
                </a:lnTo>
                <a:lnTo>
                  <a:pt x="42" y="5162"/>
                </a:lnTo>
                <a:lnTo>
                  <a:pt x="17" y="4960"/>
                </a:lnTo>
                <a:lnTo>
                  <a:pt x="3" y="4758"/>
                </a:lnTo>
                <a:lnTo>
                  <a:pt x="0" y="4556"/>
                </a:lnTo>
                <a:lnTo>
                  <a:pt x="8" y="4355"/>
                </a:lnTo>
                <a:lnTo>
                  <a:pt x="26" y="4153"/>
                </a:lnTo>
                <a:lnTo>
                  <a:pt x="55" y="3952"/>
                </a:lnTo>
                <a:lnTo>
                  <a:pt x="94" y="3751"/>
                </a:lnTo>
                <a:lnTo>
                  <a:pt x="204" y="3350"/>
                </a:lnTo>
                <a:lnTo>
                  <a:pt x="355" y="2951"/>
                </a:lnTo>
                <a:lnTo>
                  <a:pt x="473" y="2695"/>
                </a:lnTo>
                <a:lnTo>
                  <a:pt x="602" y="2450"/>
                </a:lnTo>
                <a:lnTo>
                  <a:pt x="742" y="2218"/>
                </a:lnTo>
                <a:lnTo>
                  <a:pt x="893" y="1998"/>
                </a:lnTo>
                <a:lnTo>
                  <a:pt x="1054" y="1789"/>
                </a:lnTo>
                <a:lnTo>
                  <a:pt x="1226" y="1592"/>
                </a:lnTo>
                <a:lnTo>
                  <a:pt x="1407" y="1407"/>
                </a:lnTo>
                <a:lnTo>
                  <a:pt x="1599" y="1233"/>
                </a:lnTo>
                <a:lnTo>
                  <a:pt x="1801" y="1071"/>
                </a:lnTo>
                <a:lnTo>
                  <a:pt x="2012" y="921"/>
                </a:lnTo>
                <a:lnTo>
                  <a:pt x="2233" y="781"/>
                </a:lnTo>
                <a:lnTo>
                  <a:pt x="2463" y="653"/>
                </a:lnTo>
                <a:lnTo>
                  <a:pt x="2703" y="537"/>
                </a:lnTo>
                <a:lnTo>
                  <a:pt x="2952" y="431"/>
                </a:lnTo>
                <a:lnTo>
                  <a:pt x="3478" y="254"/>
                </a:lnTo>
                <a:lnTo>
                  <a:pt x="3953" y="135"/>
                </a:lnTo>
                <a:lnTo>
                  <a:pt x="4428" y="52"/>
                </a:lnTo>
                <a:lnTo>
                  <a:pt x="4903" y="6"/>
                </a:lnTo>
                <a:lnTo>
                  <a:pt x="5376" y="0"/>
                </a:lnTo>
                <a:lnTo>
                  <a:pt x="5848" y="37"/>
                </a:lnTo>
                <a:lnTo>
                  <a:pt x="6317" y="118"/>
                </a:lnTo>
                <a:lnTo>
                  <a:pt x="6783" y="245"/>
                </a:lnTo>
                <a:lnTo>
                  <a:pt x="7245" y="422"/>
                </a:lnTo>
                <a:lnTo>
                  <a:pt x="7493" y="538"/>
                </a:lnTo>
                <a:lnTo>
                  <a:pt x="7729" y="664"/>
                </a:lnTo>
                <a:lnTo>
                  <a:pt x="7954" y="801"/>
                </a:lnTo>
                <a:lnTo>
                  <a:pt x="8167" y="947"/>
                </a:lnTo>
                <a:lnTo>
                  <a:pt x="8369" y="1103"/>
                </a:lnTo>
                <a:lnTo>
                  <a:pt x="8558" y="1269"/>
                </a:lnTo>
                <a:lnTo>
                  <a:pt x="8735" y="1446"/>
                </a:lnTo>
                <a:lnTo>
                  <a:pt x="8900" y="1632"/>
                </a:lnTo>
                <a:lnTo>
                  <a:pt x="9053" y="1829"/>
                </a:lnTo>
                <a:lnTo>
                  <a:pt x="9193" y="2036"/>
                </a:lnTo>
                <a:lnTo>
                  <a:pt x="9321" y="2254"/>
                </a:lnTo>
                <a:lnTo>
                  <a:pt x="9435" y="2481"/>
                </a:lnTo>
                <a:lnTo>
                  <a:pt x="9537" y="2719"/>
                </a:lnTo>
                <a:lnTo>
                  <a:pt x="9626" y="2968"/>
                </a:lnTo>
                <a:lnTo>
                  <a:pt x="9702" y="3227"/>
                </a:lnTo>
                <a:lnTo>
                  <a:pt x="9765" y="3497"/>
                </a:lnTo>
                <a:lnTo>
                  <a:pt x="9802" y="3716"/>
                </a:lnTo>
                <a:lnTo>
                  <a:pt x="9825" y="3935"/>
                </a:lnTo>
                <a:lnTo>
                  <a:pt x="9836" y="4155"/>
                </a:lnTo>
                <a:lnTo>
                  <a:pt x="9835" y="4374"/>
                </a:lnTo>
                <a:lnTo>
                  <a:pt x="9825" y="4594"/>
                </a:lnTo>
                <a:lnTo>
                  <a:pt x="9806" y="4813"/>
                </a:lnTo>
                <a:lnTo>
                  <a:pt x="9751" y="5252"/>
                </a:lnTo>
                <a:lnTo>
                  <a:pt x="9694" y="5585"/>
                </a:lnTo>
                <a:lnTo>
                  <a:pt x="9620" y="5912"/>
                </a:lnTo>
                <a:lnTo>
                  <a:pt x="9529" y="6232"/>
                </a:lnTo>
                <a:lnTo>
                  <a:pt x="9420" y="6545"/>
                </a:lnTo>
                <a:lnTo>
                  <a:pt x="9291" y="6850"/>
                </a:lnTo>
                <a:lnTo>
                  <a:pt x="9140" y="7146"/>
                </a:lnTo>
                <a:lnTo>
                  <a:pt x="8968" y="7434"/>
                </a:lnTo>
                <a:lnTo>
                  <a:pt x="8772" y="7712"/>
                </a:lnTo>
                <a:lnTo>
                  <a:pt x="8493" y="8045"/>
                </a:lnTo>
                <a:lnTo>
                  <a:pt x="8346" y="8196"/>
                </a:lnTo>
                <a:lnTo>
                  <a:pt x="8193" y="8337"/>
                </a:lnTo>
                <a:lnTo>
                  <a:pt x="8034" y="8467"/>
                </a:lnTo>
                <a:lnTo>
                  <a:pt x="7870" y="8587"/>
                </a:lnTo>
                <a:lnTo>
                  <a:pt x="7701" y="8696"/>
                </a:lnTo>
                <a:lnTo>
                  <a:pt x="7525" y="8795"/>
                </a:lnTo>
                <a:lnTo>
                  <a:pt x="7345" y="8882"/>
                </a:lnTo>
                <a:lnTo>
                  <a:pt x="7159" y="8958"/>
                </a:lnTo>
                <a:lnTo>
                  <a:pt x="6967" y="9023"/>
                </a:lnTo>
                <a:lnTo>
                  <a:pt x="6769" y="9077"/>
                </a:lnTo>
                <a:lnTo>
                  <a:pt x="6566" y="9119"/>
                </a:lnTo>
                <a:lnTo>
                  <a:pt x="6357" y="9150"/>
                </a:lnTo>
                <a:lnTo>
                  <a:pt x="6143" y="9169"/>
                </a:lnTo>
                <a:lnTo>
                  <a:pt x="5922" y="9176"/>
                </a:lnTo>
                <a:lnTo>
                  <a:pt x="5655" y="9165"/>
                </a:lnTo>
                <a:lnTo>
                  <a:pt x="5525" y="9150"/>
                </a:lnTo>
                <a:lnTo>
                  <a:pt x="5398" y="9128"/>
                </a:lnTo>
                <a:lnTo>
                  <a:pt x="5273" y="9099"/>
                </a:lnTo>
                <a:lnTo>
                  <a:pt x="5152" y="9063"/>
                </a:lnTo>
                <a:lnTo>
                  <a:pt x="5034" y="9020"/>
                </a:lnTo>
                <a:lnTo>
                  <a:pt x="4918" y="8970"/>
                </a:lnTo>
                <a:lnTo>
                  <a:pt x="4806" y="8913"/>
                </a:lnTo>
                <a:lnTo>
                  <a:pt x="4697" y="8848"/>
                </a:lnTo>
                <a:lnTo>
                  <a:pt x="4591" y="8776"/>
                </a:lnTo>
                <a:lnTo>
                  <a:pt x="4489" y="8696"/>
                </a:lnTo>
                <a:lnTo>
                  <a:pt x="4390" y="8608"/>
                </a:lnTo>
                <a:lnTo>
                  <a:pt x="4295" y="8512"/>
                </a:lnTo>
                <a:lnTo>
                  <a:pt x="4203" y="8408"/>
                </a:lnTo>
                <a:lnTo>
                  <a:pt x="4115" y="8296"/>
                </a:lnTo>
              </a:path>
            </a:pathLst>
          </a:custGeom>
          <a:solidFill>
            <a:srgbClr val="123563"/>
          </a:solidFill>
          <a:ln>
            <a:noFill/>
          </a:ln>
          <a:effectLst/>
        </p:spPr>
        <p:txBody>
          <a:bodyPr wrap="none" anchor="ctr"/>
          <a:lstStyle/>
          <a:p>
            <a:endParaRPr lang="de-DE" sz="1800" dirty="0">
              <a:latin typeface="BISansOpti"/>
            </a:endParaRPr>
          </a:p>
        </p:txBody>
      </p:sp>
      <p:sp>
        <p:nvSpPr>
          <p:cNvPr id="17" name="Freeform 2"/>
          <p:cNvSpPr>
            <a:spLocks noChangeAspect="1" noChangeArrowheads="1"/>
          </p:cNvSpPr>
          <p:nvPr userDrawn="1"/>
        </p:nvSpPr>
        <p:spPr bwMode="auto">
          <a:xfrm>
            <a:off x="3887067" y="1696076"/>
            <a:ext cx="431999" cy="431999"/>
          </a:xfrm>
          <a:custGeom>
            <a:avLst/>
            <a:gdLst>
              <a:gd name="T0" fmla="*/ 12913 w 14438"/>
              <a:gd name="T1" fmla="*/ 17 h 14438"/>
              <a:gd name="T2" fmla="*/ 13781 w 14438"/>
              <a:gd name="T3" fmla="*/ 392 h 14438"/>
              <a:gd name="T4" fmla="*/ 14305 w 14438"/>
              <a:gd name="T5" fmla="*/ 1097 h 14438"/>
              <a:gd name="T6" fmla="*/ 14432 w 14438"/>
              <a:gd name="T7" fmla="*/ 12796 h 14438"/>
              <a:gd name="T8" fmla="*/ 14249 w 14438"/>
              <a:gd name="T9" fmla="*/ 13460 h 14438"/>
              <a:gd name="T10" fmla="*/ 13703 w 14438"/>
              <a:gd name="T11" fmla="*/ 14108 h 14438"/>
              <a:gd name="T12" fmla="*/ 12896 w 14438"/>
              <a:gd name="T13" fmla="*/ 14422 h 14438"/>
              <a:gd name="T14" fmla="*/ 1127 w 14438"/>
              <a:gd name="T15" fmla="*/ 14320 h 14438"/>
              <a:gd name="T16" fmla="*/ 473 w 14438"/>
              <a:gd name="T17" fmla="*/ 13875 h 14438"/>
              <a:gd name="T18" fmla="*/ 75 w 14438"/>
              <a:gd name="T19" fmla="*/ 13174 h 14438"/>
              <a:gd name="T20" fmla="*/ 19 w 14438"/>
              <a:gd name="T21" fmla="*/ 1490 h 14438"/>
              <a:gd name="T22" fmla="*/ 243 w 14438"/>
              <a:gd name="T23" fmla="*/ 870 h 14438"/>
              <a:gd name="T24" fmla="*/ 717 w 14438"/>
              <a:gd name="T25" fmla="*/ 343 h 14438"/>
              <a:gd name="T26" fmla="*/ 1356 w 14438"/>
              <a:gd name="T27" fmla="*/ 46 h 14438"/>
              <a:gd name="T28" fmla="*/ 11674 w 14438"/>
              <a:gd name="T29" fmla="*/ 6803 h 14438"/>
              <a:gd name="T30" fmla="*/ 11511 w 14438"/>
              <a:gd name="T31" fmla="*/ 8713 h 14438"/>
              <a:gd name="T32" fmla="*/ 10505 w 14438"/>
              <a:gd name="T33" fmla="*/ 10313 h 14438"/>
              <a:gd name="T34" fmla="*/ 8796 w 14438"/>
              <a:gd name="T35" fmla="*/ 11441 h 14438"/>
              <a:gd name="T36" fmla="*/ 6950 w 14438"/>
              <a:gd name="T37" fmla="*/ 11727 h 14438"/>
              <a:gd name="T38" fmla="*/ 5067 w 14438"/>
              <a:gd name="T39" fmla="*/ 11137 h 14438"/>
              <a:gd name="T40" fmla="*/ 3387 w 14438"/>
              <a:gd name="T41" fmla="*/ 9647 h 14438"/>
              <a:gd name="T42" fmla="*/ 2759 w 14438"/>
              <a:gd name="T43" fmla="*/ 7666 h 14438"/>
              <a:gd name="T44" fmla="*/ 1801 w 14438"/>
              <a:gd name="T45" fmla="*/ 6048 h 14438"/>
              <a:gd name="T46" fmla="*/ 1831 w 14438"/>
              <a:gd name="T47" fmla="*/ 12398 h 14438"/>
              <a:gd name="T48" fmla="*/ 1969 w 14438"/>
              <a:gd name="T49" fmla="*/ 12574 h 14438"/>
              <a:gd name="T50" fmla="*/ 2231 w 14438"/>
              <a:gd name="T51" fmla="*/ 12635 h 14438"/>
              <a:gd name="T52" fmla="*/ 12355 w 14438"/>
              <a:gd name="T53" fmla="*/ 12615 h 14438"/>
              <a:gd name="T54" fmla="*/ 12494 w 14438"/>
              <a:gd name="T55" fmla="*/ 12559 h 14438"/>
              <a:gd name="T56" fmla="*/ 12584 w 14438"/>
              <a:gd name="T57" fmla="*/ 12451 h 14438"/>
              <a:gd name="T58" fmla="*/ 12630 w 14438"/>
              <a:gd name="T59" fmla="*/ 12242 h 14438"/>
              <a:gd name="T60" fmla="*/ 7228 w 14438"/>
              <a:gd name="T61" fmla="*/ 10019 h 14438"/>
              <a:gd name="T62" fmla="*/ 8762 w 14438"/>
              <a:gd name="T63" fmla="*/ 9581 h 14438"/>
              <a:gd name="T64" fmla="*/ 9907 w 14438"/>
              <a:gd name="T65" fmla="*/ 8263 h 14438"/>
              <a:gd name="T66" fmla="*/ 10045 w 14438"/>
              <a:gd name="T67" fmla="*/ 6516 h 14438"/>
              <a:gd name="T68" fmla="*/ 9166 w 14438"/>
              <a:gd name="T69" fmla="*/ 5099 h 14438"/>
              <a:gd name="T70" fmla="*/ 7702 w 14438"/>
              <a:gd name="T71" fmla="*/ 4419 h 14438"/>
              <a:gd name="T72" fmla="*/ 6052 w 14438"/>
              <a:gd name="T73" fmla="*/ 4623 h 14438"/>
              <a:gd name="T74" fmla="*/ 4844 w 14438"/>
              <a:gd name="T75" fmla="*/ 5593 h 14438"/>
              <a:gd name="T76" fmla="*/ 4336 w 14438"/>
              <a:gd name="T77" fmla="*/ 7017 h 14438"/>
              <a:gd name="T78" fmla="*/ 4649 w 14438"/>
              <a:gd name="T79" fmla="*/ 8481 h 14438"/>
              <a:gd name="T80" fmla="*/ 5608 w 14438"/>
              <a:gd name="T81" fmla="*/ 9522 h 14438"/>
              <a:gd name="T82" fmla="*/ 6977 w 14438"/>
              <a:gd name="T83" fmla="*/ 10006 h 14438"/>
              <a:gd name="T84" fmla="*/ 9947 w 14438"/>
              <a:gd name="T85" fmla="*/ 4184 h 14438"/>
              <a:gd name="T86" fmla="*/ 10089 w 14438"/>
              <a:gd name="T87" fmla="*/ 4407 h 14438"/>
              <a:gd name="T88" fmla="*/ 10342 w 14438"/>
              <a:gd name="T89" fmla="*/ 4506 h 14438"/>
              <a:gd name="T90" fmla="*/ 12359 w 14438"/>
              <a:gd name="T91" fmla="*/ 4474 h 14438"/>
              <a:gd name="T92" fmla="*/ 12560 w 14438"/>
              <a:gd name="T93" fmla="*/ 4309 h 14438"/>
              <a:gd name="T94" fmla="*/ 12635 w 14438"/>
              <a:gd name="T95" fmla="*/ 4037 h 14438"/>
              <a:gd name="T96" fmla="*/ 12582 w 14438"/>
              <a:gd name="T97" fmla="*/ 2038 h 14438"/>
              <a:gd name="T98" fmla="*/ 12395 w 14438"/>
              <a:gd name="T99" fmla="*/ 1854 h 14438"/>
              <a:gd name="T100" fmla="*/ 10408 w 14438"/>
              <a:gd name="T101" fmla="*/ 1802 h 14438"/>
              <a:gd name="T102" fmla="*/ 10126 w 14438"/>
              <a:gd name="T103" fmla="*/ 1877 h 14438"/>
              <a:gd name="T104" fmla="*/ 9962 w 14438"/>
              <a:gd name="T105" fmla="*/ 2086 h 144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14438" h="14438">
                <a:moveTo>
                  <a:pt x="12872" y="0"/>
                </a:moveTo>
                <a:lnTo>
                  <a:pt x="12892" y="10"/>
                </a:lnTo>
                <a:lnTo>
                  <a:pt x="12897" y="12"/>
                </a:lnTo>
                <a:lnTo>
                  <a:pt x="12903" y="14"/>
                </a:lnTo>
                <a:lnTo>
                  <a:pt x="12908" y="16"/>
                </a:lnTo>
                <a:lnTo>
                  <a:pt x="12913" y="17"/>
                </a:lnTo>
                <a:lnTo>
                  <a:pt x="13079" y="54"/>
                </a:lnTo>
                <a:lnTo>
                  <a:pt x="13237" y="102"/>
                </a:lnTo>
                <a:lnTo>
                  <a:pt x="13387" y="160"/>
                </a:lnTo>
                <a:lnTo>
                  <a:pt x="13527" y="227"/>
                </a:lnTo>
                <a:lnTo>
                  <a:pt x="13659" y="305"/>
                </a:lnTo>
                <a:lnTo>
                  <a:pt x="13781" y="392"/>
                </a:lnTo>
                <a:lnTo>
                  <a:pt x="13894" y="488"/>
                </a:lnTo>
                <a:lnTo>
                  <a:pt x="13997" y="594"/>
                </a:lnTo>
                <a:lnTo>
                  <a:pt x="14089" y="707"/>
                </a:lnTo>
                <a:lnTo>
                  <a:pt x="14172" y="829"/>
                </a:lnTo>
                <a:lnTo>
                  <a:pt x="14244" y="959"/>
                </a:lnTo>
                <a:lnTo>
                  <a:pt x="14305" y="1097"/>
                </a:lnTo>
                <a:lnTo>
                  <a:pt x="14355" y="1242"/>
                </a:lnTo>
                <a:lnTo>
                  <a:pt x="14394" y="1394"/>
                </a:lnTo>
                <a:lnTo>
                  <a:pt x="14421" y="1553"/>
                </a:lnTo>
                <a:lnTo>
                  <a:pt x="14437" y="1718"/>
                </a:lnTo>
                <a:lnTo>
                  <a:pt x="14437" y="12716"/>
                </a:lnTo>
                <a:lnTo>
                  <a:pt x="14432" y="12796"/>
                </a:lnTo>
                <a:lnTo>
                  <a:pt x="14424" y="12876"/>
                </a:lnTo>
                <a:lnTo>
                  <a:pt x="14412" y="12955"/>
                </a:lnTo>
                <a:lnTo>
                  <a:pt x="14397" y="13033"/>
                </a:lnTo>
                <a:lnTo>
                  <a:pt x="14358" y="13182"/>
                </a:lnTo>
                <a:lnTo>
                  <a:pt x="14308" y="13325"/>
                </a:lnTo>
                <a:lnTo>
                  <a:pt x="14249" y="13460"/>
                </a:lnTo>
                <a:lnTo>
                  <a:pt x="14179" y="13588"/>
                </a:lnTo>
                <a:lnTo>
                  <a:pt x="14101" y="13709"/>
                </a:lnTo>
                <a:lnTo>
                  <a:pt x="14014" y="13821"/>
                </a:lnTo>
                <a:lnTo>
                  <a:pt x="13918" y="13925"/>
                </a:lnTo>
                <a:lnTo>
                  <a:pt x="13814" y="14021"/>
                </a:lnTo>
                <a:lnTo>
                  <a:pt x="13703" y="14108"/>
                </a:lnTo>
                <a:lnTo>
                  <a:pt x="13584" y="14185"/>
                </a:lnTo>
                <a:lnTo>
                  <a:pt x="13458" y="14253"/>
                </a:lnTo>
                <a:lnTo>
                  <a:pt x="13326" y="14311"/>
                </a:lnTo>
                <a:lnTo>
                  <a:pt x="13189" y="14358"/>
                </a:lnTo>
                <a:lnTo>
                  <a:pt x="13045" y="14396"/>
                </a:lnTo>
                <a:lnTo>
                  <a:pt x="12896" y="14422"/>
                </a:lnTo>
                <a:lnTo>
                  <a:pt x="12743" y="14437"/>
                </a:lnTo>
                <a:lnTo>
                  <a:pt x="1655" y="14437"/>
                </a:lnTo>
                <a:lnTo>
                  <a:pt x="1518" y="14423"/>
                </a:lnTo>
                <a:lnTo>
                  <a:pt x="1384" y="14398"/>
                </a:lnTo>
                <a:lnTo>
                  <a:pt x="1253" y="14364"/>
                </a:lnTo>
                <a:lnTo>
                  <a:pt x="1127" y="14320"/>
                </a:lnTo>
                <a:lnTo>
                  <a:pt x="1004" y="14266"/>
                </a:lnTo>
                <a:lnTo>
                  <a:pt x="887" y="14204"/>
                </a:lnTo>
                <a:lnTo>
                  <a:pt x="774" y="14134"/>
                </a:lnTo>
                <a:lnTo>
                  <a:pt x="668" y="14055"/>
                </a:lnTo>
                <a:lnTo>
                  <a:pt x="567" y="13969"/>
                </a:lnTo>
                <a:lnTo>
                  <a:pt x="473" y="13875"/>
                </a:lnTo>
                <a:lnTo>
                  <a:pt x="387" y="13774"/>
                </a:lnTo>
                <a:lnTo>
                  <a:pt x="307" y="13666"/>
                </a:lnTo>
                <a:lnTo>
                  <a:pt x="236" y="13552"/>
                </a:lnTo>
                <a:lnTo>
                  <a:pt x="173" y="13431"/>
                </a:lnTo>
                <a:lnTo>
                  <a:pt x="119" y="13305"/>
                </a:lnTo>
                <a:lnTo>
                  <a:pt x="75" y="13174"/>
                </a:lnTo>
                <a:lnTo>
                  <a:pt x="55" y="13101"/>
                </a:lnTo>
                <a:lnTo>
                  <a:pt x="36" y="13028"/>
                </a:lnTo>
                <a:lnTo>
                  <a:pt x="0" y="12881"/>
                </a:lnTo>
                <a:lnTo>
                  <a:pt x="0" y="1558"/>
                </a:lnTo>
                <a:lnTo>
                  <a:pt x="13" y="1513"/>
                </a:lnTo>
                <a:lnTo>
                  <a:pt x="19" y="1490"/>
                </a:lnTo>
                <a:lnTo>
                  <a:pt x="24" y="1468"/>
                </a:lnTo>
                <a:lnTo>
                  <a:pt x="55" y="1337"/>
                </a:lnTo>
                <a:lnTo>
                  <a:pt x="92" y="1211"/>
                </a:lnTo>
                <a:lnTo>
                  <a:pt x="136" y="1092"/>
                </a:lnTo>
                <a:lnTo>
                  <a:pt x="186" y="978"/>
                </a:lnTo>
                <a:lnTo>
                  <a:pt x="243" y="870"/>
                </a:lnTo>
                <a:lnTo>
                  <a:pt x="306" y="767"/>
                </a:lnTo>
                <a:lnTo>
                  <a:pt x="375" y="671"/>
                </a:lnTo>
                <a:lnTo>
                  <a:pt x="451" y="580"/>
                </a:lnTo>
                <a:lnTo>
                  <a:pt x="533" y="495"/>
                </a:lnTo>
                <a:lnTo>
                  <a:pt x="622" y="416"/>
                </a:lnTo>
                <a:lnTo>
                  <a:pt x="717" y="343"/>
                </a:lnTo>
                <a:lnTo>
                  <a:pt x="819" y="276"/>
                </a:lnTo>
                <a:lnTo>
                  <a:pt x="927" y="214"/>
                </a:lnTo>
                <a:lnTo>
                  <a:pt x="1042" y="159"/>
                </a:lnTo>
                <a:lnTo>
                  <a:pt x="1163" y="109"/>
                </a:lnTo>
                <a:lnTo>
                  <a:pt x="1291" y="65"/>
                </a:lnTo>
                <a:lnTo>
                  <a:pt x="1356" y="46"/>
                </a:lnTo>
                <a:lnTo>
                  <a:pt x="1422" y="30"/>
                </a:lnTo>
                <a:lnTo>
                  <a:pt x="1554" y="0"/>
                </a:lnTo>
                <a:lnTo>
                  <a:pt x="12872" y="0"/>
                </a:lnTo>
                <a:close/>
                <a:moveTo>
                  <a:pt x="11550" y="6105"/>
                </a:moveTo>
                <a:lnTo>
                  <a:pt x="11623" y="6457"/>
                </a:lnTo>
                <a:lnTo>
                  <a:pt x="11674" y="6803"/>
                </a:lnTo>
                <a:lnTo>
                  <a:pt x="11703" y="7141"/>
                </a:lnTo>
                <a:lnTo>
                  <a:pt x="11710" y="7472"/>
                </a:lnTo>
                <a:lnTo>
                  <a:pt x="11695" y="7794"/>
                </a:lnTo>
                <a:lnTo>
                  <a:pt x="11656" y="8109"/>
                </a:lnTo>
                <a:lnTo>
                  <a:pt x="11595" y="8415"/>
                </a:lnTo>
                <a:lnTo>
                  <a:pt x="11511" y="8713"/>
                </a:lnTo>
                <a:lnTo>
                  <a:pt x="11404" y="9002"/>
                </a:lnTo>
                <a:lnTo>
                  <a:pt x="11272" y="9283"/>
                </a:lnTo>
                <a:lnTo>
                  <a:pt x="11117" y="9554"/>
                </a:lnTo>
                <a:lnTo>
                  <a:pt x="10937" y="9817"/>
                </a:lnTo>
                <a:lnTo>
                  <a:pt x="10733" y="10070"/>
                </a:lnTo>
                <a:lnTo>
                  <a:pt x="10505" y="10313"/>
                </a:lnTo>
                <a:lnTo>
                  <a:pt x="10251" y="10547"/>
                </a:lnTo>
                <a:lnTo>
                  <a:pt x="9972" y="10770"/>
                </a:lnTo>
                <a:lnTo>
                  <a:pt x="9684" y="10973"/>
                </a:lnTo>
                <a:lnTo>
                  <a:pt x="9391" y="11153"/>
                </a:lnTo>
                <a:lnTo>
                  <a:pt x="9095" y="11309"/>
                </a:lnTo>
                <a:lnTo>
                  <a:pt x="8796" y="11441"/>
                </a:lnTo>
                <a:lnTo>
                  <a:pt x="8493" y="11549"/>
                </a:lnTo>
                <a:lnTo>
                  <a:pt x="8189" y="11633"/>
                </a:lnTo>
                <a:lnTo>
                  <a:pt x="7881" y="11693"/>
                </a:lnTo>
                <a:lnTo>
                  <a:pt x="7572" y="11728"/>
                </a:lnTo>
                <a:lnTo>
                  <a:pt x="7262" y="11740"/>
                </a:lnTo>
                <a:lnTo>
                  <a:pt x="6950" y="11727"/>
                </a:lnTo>
                <a:lnTo>
                  <a:pt x="6636" y="11690"/>
                </a:lnTo>
                <a:lnTo>
                  <a:pt x="6323" y="11629"/>
                </a:lnTo>
                <a:lnTo>
                  <a:pt x="6008" y="11543"/>
                </a:lnTo>
                <a:lnTo>
                  <a:pt x="5694" y="11432"/>
                </a:lnTo>
                <a:lnTo>
                  <a:pt x="5380" y="11297"/>
                </a:lnTo>
                <a:lnTo>
                  <a:pt x="5067" y="11137"/>
                </a:lnTo>
                <a:lnTo>
                  <a:pt x="4711" y="10926"/>
                </a:lnTo>
                <a:lnTo>
                  <a:pt x="4386" y="10699"/>
                </a:lnTo>
                <a:lnTo>
                  <a:pt x="4092" y="10457"/>
                </a:lnTo>
                <a:lnTo>
                  <a:pt x="3827" y="10202"/>
                </a:lnTo>
                <a:lnTo>
                  <a:pt x="3592" y="9931"/>
                </a:lnTo>
                <a:lnTo>
                  <a:pt x="3387" y="9647"/>
                </a:lnTo>
                <a:lnTo>
                  <a:pt x="3210" y="9349"/>
                </a:lnTo>
                <a:lnTo>
                  <a:pt x="3063" y="9038"/>
                </a:lnTo>
                <a:lnTo>
                  <a:pt x="2945" y="8714"/>
                </a:lnTo>
                <a:lnTo>
                  <a:pt x="2855" y="8377"/>
                </a:lnTo>
                <a:lnTo>
                  <a:pt x="2793" y="8028"/>
                </a:lnTo>
                <a:lnTo>
                  <a:pt x="2759" y="7666"/>
                </a:lnTo>
                <a:lnTo>
                  <a:pt x="2753" y="7292"/>
                </a:lnTo>
                <a:lnTo>
                  <a:pt x="2774" y="6907"/>
                </a:lnTo>
                <a:lnTo>
                  <a:pt x="2822" y="6510"/>
                </a:lnTo>
                <a:lnTo>
                  <a:pt x="2898" y="6103"/>
                </a:lnTo>
                <a:lnTo>
                  <a:pt x="1801" y="5865"/>
                </a:lnTo>
                <a:lnTo>
                  <a:pt x="1801" y="6048"/>
                </a:lnTo>
                <a:lnTo>
                  <a:pt x="1801" y="11985"/>
                </a:lnTo>
                <a:lnTo>
                  <a:pt x="1802" y="12211"/>
                </a:lnTo>
                <a:lnTo>
                  <a:pt x="1805" y="12263"/>
                </a:lnTo>
                <a:lnTo>
                  <a:pt x="1810" y="12312"/>
                </a:lnTo>
                <a:lnTo>
                  <a:pt x="1819" y="12357"/>
                </a:lnTo>
                <a:lnTo>
                  <a:pt x="1831" y="12398"/>
                </a:lnTo>
                <a:lnTo>
                  <a:pt x="1846" y="12436"/>
                </a:lnTo>
                <a:lnTo>
                  <a:pt x="1864" y="12470"/>
                </a:lnTo>
                <a:lnTo>
                  <a:pt x="1885" y="12501"/>
                </a:lnTo>
                <a:lnTo>
                  <a:pt x="1910" y="12529"/>
                </a:lnTo>
                <a:lnTo>
                  <a:pt x="1938" y="12553"/>
                </a:lnTo>
                <a:lnTo>
                  <a:pt x="1969" y="12574"/>
                </a:lnTo>
                <a:lnTo>
                  <a:pt x="2004" y="12592"/>
                </a:lnTo>
                <a:lnTo>
                  <a:pt x="2042" y="12606"/>
                </a:lnTo>
                <a:lnTo>
                  <a:pt x="2084" y="12618"/>
                </a:lnTo>
                <a:lnTo>
                  <a:pt x="2129" y="12627"/>
                </a:lnTo>
                <a:lnTo>
                  <a:pt x="2178" y="12632"/>
                </a:lnTo>
                <a:lnTo>
                  <a:pt x="2231" y="12635"/>
                </a:lnTo>
                <a:lnTo>
                  <a:pt x="2315" y="12636"/>
                </a:lnTo>
                <a:lnTo>
                  <a:pt x="12118" y="12635"/>
                </a:lnTo>
                <a:lnTo>
                  <a:pt x="12178" y="12634"/>
                </a:lnTo>
                <a:lnTo>
                  <a:pt x="12237" y="12630"/>
                </a:lnTo>
                <a:lnTo>
                  <a:pt x="12296" y="12624"/>
                </a:lnTo>
                <a:lnTo>
                  <a:pt x="12355" y="12615"/>
                </a:lnTo>
                <a:lnTo>
                  <a:pt x="12382" y="12609"/>
                </a:lnTo>
                <a:lnTo>
                  <a:pt x="12407" y="12602"/>
                </a:lnTo>
                <a:lnTo>
                  <a:pt x="12431" y="12593"/>
                </a:lnTo>
                <a:lnTo>
                  <a:pt x="12453" y="12583"/>
                </a:lnTo>
                <a:lnTo>
                  <a:pt x="12474" y="12572"/>
                </a:lnTo>
                <a:lnTo>
                  <a:pt x="12494" y="12559"/>
                </a:lnTo>
                <a:lnTo>
                  <a:pt x="12513" y="12544"/>
                </a:lnTo>
                <a:lnTo>
                  <a:pt x="12530" y="12528"/>
                </a:lnTo>
                <a:lnTo>
                  <a:pt x="12545" y="12511"/>
                </a:lnTo>
                <a:lnTo>
                  <a:pt x="12560" y="12493"/>
                </a:lnTo>
                <a:lnTo>
                  <a:pt x="12573" y="12473"/>
                </a:lnTo>
                <a:lnTo>
                  <a:pt x="12584" y="12451"/>
                </a:lnTo>
                <a:lnTo>
                  <a:pt x="12594" y="12429"/>
                </a:lnTo>
                <a:lnTo>
                  <a:pt x="12602" y="12405"/>
                </a:lnTo>
                <a:lnTo>
                  <a:pt x="12610" y="12380"/>
                </a:lnTo>
                <a:lnTo>
                  <a:pt x="12615" y="12353"/>
                </a:lnTo>
                <a:lnTo>
                  <a:pt x="12624" y="12298"/>
                </a:lnTo>
                <a:lnTo>
                  <a:pt x="12630" y="12242"/>
                </a:lnTo>
                <a:lnTo>
                  <a:pt x="12634" y="12186"/>
                </a:lnTo>
                <a:lnTo>
                  <a:pt x="12635" y="12130"/>
                </a:lnTo>
                <a:lnTo>
                  <a:pt x="12636" y="6023"/>
                </a:lnTo>
                <a:lnTo>
                  <a:pt x="12636" y="5865"/>
                </a:lnTo>
                <a:lnTo>
                  <a:pt x="11550" y="6105"/>
                </a:lnTo>
                <a:close/>
                <a:moveTo>
                  <a:pt x="7228" y="10019"/>
                </a:moveTo>
                <a:lnTo>
                  <a:pt x="7564" y="9978"/>
                </a:lnTo>
                <a:lnTo>
                  <a:pt x="7731" y="9954"/>
                </a:lnTo>
                <a:lnTo>
                  <a:pt x="7897" y="9923"/>
                </a:lnTo>
                <a:lnTo>
                  <a:pt x="8204" y="9839"/>
                </a:lnTo>
                <a:lnTo>
                  <a:pt x="8493" y="9724"/>
                </a:lnTo>
                <a:lnTo>
                  <a:pt x="8762" y="9581"/>
                </a:lnTo>
                <a:lnTo>
                  <a:pt x="9011" y="9412"/>
                </a:lnTo>
                <a:lnTo>
                  <a:pt x="9239" y="9220"/>
                </a:lnTo>
                <a:lnTo>
                  <a:pt x="9443" y="9007"/>
                </a:lnTo>
                <a:lnTo>
                  <a:pt x="9624" y="8775"/>
                </a:lnTo>
                <a:lnTo>
                  <a:pt x="9779" y="8526"/>
                </a:lnTo>
                <a:lnTo>
                  <a:pt x="9907" y="8263"/>
                </a:lnTo>
                <a:lnTo>
                  <a:pt x="10007" y="7988"/>
                </a:lnTo>
                <a:lnTo>
                  <a:pt x="10078" y="7704"/>
                </a:lnTo>
                <a:lnTo>
                  <a:pt x="10119" y="7412"/>
                </a:lnTo>
                <a:lnTo>
                  <a:pt x="10128" y="7115"/>
                </a:lnTo>
                <a:lnTo>
                  <a:pt x="10103" y="6816"/>
                </a:lnTo>
                <a:lnTo>
                  <a:pt x="10045" y="6516"/>
                </a:lnTo>
                <a:lnTo>
                  <a:pt x="9950" y="6218"/>
                </a:lnTo>
                <a:lnTo>
                  <a:pt x="9837" y="5959"/>
                </a:lnTo>
                <a:lnTo>
                  <a:pt x="9700" y="5717"/>
                </a:lnTo>
                <a:lnTo>
                  <a:pt x="9541" y="5493"/>
                </a:lnTo>
                <a:lnTo>
                  <a:pt x="9363" y="5286"/>
                </a:lnTo>
                <a:lnTo>
                  <a:pt x="9166" y="5099"/>
                </a:lnTo>
                <a:lnTo>
                  <a:pt x="8952" y="4931"/>
                </a:lnTo>
                <a:lnTo>
                  <a:pt x="8724" y="4784"/>
                </a:lnTo>
                <a:lnTo>
                  <a:pt x="8484" y="4658"/>
                </a:lnTo>
                <a:lnTo>
                  <a:pt x="8232" y="4555"/>
                </a:lnTo>
                <a:lnTo>
                  <a:pt x="7970" y="4475"/>
                </a:lnTo>
                <a:lnTo>
                  <a:pt x="7702" y="4419"/>
                </a:lnTo>
                <a:lnTo>
                  <a:pt x="7428" y="4387"/>
                </a:lnTo>
                <a:lnTo>
                  <a:pt x="7149" y="4381"/>
                </a:lnTo>
                <a:lnTo>
                  <a:pt x="6869" y="4402"/>
                </a:lnTo>
                <a:lnTo>
                  <a:pt x="6589" y="4450"/>
                </a:lnTo>
                <a:lnTo>
                  <a:pt x="6310" y="4526"/>
                </a:lnTo>
                <a:lnTo>
                  <a:pt x="6052" y="4623"/>
                </a:lnTo>
                <a:lnTo>
                  <a:pt x="5809" y="4741"/>
                </a:lnTo>
                <a:lnTo>
                  <a:pt x="5582" y="4878"/>
                </a:lnTo>
                <a:lnTo>
                  <a:pt x="5371" y="5033"/>
                </a:lnTo>
                <a:lnTo>
                  <a:pt x="5177" y="5205"/>
                </a:lnTo>
                <a:lnTo>
                  <a:pt x="5001" y="5392"/>
                </a:lnTo>
                <a:lnTo>
                  <a:pt x="4844" y="5593"/>
                </a:lnTo>
                <a:lnTo>
                  <a:pt x="4706" y="5807"/>
                </a:lnTo>
                <a:lnTo>
                  <a:pt x="4588" y="6032"/>
                </a:lnTo>
                <a:lnTo>
                  <a:pt x="4492" y="6267"/>
                </a:lnTo>
                <a:lnTo>
                  <a:pt x="4417" y="6510"/>
                </a:lnTo>
                <a:lnTo>
                  <a:pt x="4365" y="6761"/>
                </a:lnTo>
                <a:lnTo>
                  <a:pt x="4336" y="7017"/>
                </a:lnTo>
                <a:lnTo>
                  <a:pt x="4332" y="7278"/>
                </a:lnTo>
                <a:lnTo>
                  <a:pt x="4352" y="7542"/>
                </a:lnTo>
                <a:lnTo>
                  <a:pt x="4399" y="7807"/>
                </a:lnTo>
                <a:lnTo>
                  <a:pt x="4462" y="8041"/>
                </a:lnTo>
                <a:lnTo>
                  <a:pt x="4546" y="8266"/>
                </a:lnTo>
                <a:lnTo>
                  <a:pt x="4649" y="8481"/>
                </a:lnTo>
                <a:lnTo>
                  <a:pt x="4771" y="8686"/>
                </a:lnTo>
                <a:lnTo>
                  <a:pt x="4909" y="8879"/>
                </a:lnTo>
                <a:lnTo>
                  <a:pt x="5062" y="9060"/>
                </a:lnTo>
                <a:lnTo>
                  <a:pt x="5231" y="9228"/>
                </a:lnTo>
                <a:lnTo>
                  <a:pt x="5413" y="9382"/>
                </a:lnTo>
                <a:lnTo>
                  <a:pt x="5608" y="9522"/>
                </a:lnTo>
                <a:lnTo>
                  <a:pt x="5814" y="9646"/>
                </a:lnTo>
                <a:lnTo>
                  <a:pt x="6030" y="9754"/>
                </a:lnTo>
                <a:lnTo>
                  <a:pt x="6256" y="9845"/>
                </a:lnTo>
                <a:lnTo>
                  <a:pt x="6490" y="9918"/>
                </a:lnTo>
                <a:lnTo>
                  <a:pt x="6730" y="9971"/>
                </a:lnTo>
                <a:lnTo>
                  <a:pt x="6977" y="10006"/>
                </a:lnTo>
                <a:lnTo>
                  <a:pt x="7228" y="10019"/>
                </a:lnTo>
                <a:close/>
                <a:moveTo>
                  <a:pt x="9927" y="3148"/>
                </a:moveTo>
                <a:lnTo>
                  <a:pt x="9927" y="4036"/>
                </a:lnTo>
                <a:lnTo>
                  <a:pt x="9930" y="4087"/>
                </a:lnTo>
                <a:lnTo>
                  <a:pt x="9936" y="4137"/>
                </a:lnTo>
                <a:lnTo>
                  <a:pt x="9947" y="4184"/>
                </a:lnTo>
                <a:lnTo>
                  <a:pt x="9962" y="4228"/>
                </a:lnTo>
                <a:lnTo>
                  <a:pt x="9980" y="4270"/>
                </a:lnTo>
                <a:lnTo>
                  <a:pt x="10002" y="4309"/>
                </a:lnTo>
                <a:lnTo>
                  <a:pt x="10028" y="4345"/>
                </a:lnTo>
                <a:lnTo>
                  <a:pt x="10056" y="4378"/>
                </a:lnTo>
                <a:lnTo>
                  <a:pt x="10089" y="4407"/>
                </a:lnTo>
                <a:lnTo>
                  <a:pt x="10124" y="4433"/>
                </a:lnTo>
                <a:lnTo>
                  <a:pt x="10162" y="4455"/>
                </a:lnTo>
                <a:lnTo>
                  <a:pt x="10203" y="4474"/>
                </a:lnTo>
                <a:lnTo>
                  <a:pt x="10247" y="4489"/>
                </a:lnTo>
                <a:lnTo>
                  <a:pt x="10293" y="4500"/>
                </a:lnTo>
                <a:lnTo>
                  <a:pt x="10342" y="4506"/>
                </a:lnTo>
                <a:lnTo>
                  <a:pt x="10393" y="4509"/>
                </a:lnTo>
                <a:lnTo>
                  <a:pt x="12168" y="4509"/>
                </a:lnTo>
                <a:lnTo>
                  <a:pt x="12219" y="4506"/>
                </a:lnTo>
                <a:lnTo>
                  <a:pt x="12268" y="4500"/>
                </a:lnTo>
                <a:lnTo>
                  <a:pt x="12315" y="4489"/>
                </a:lnTo>
                <a:lnTo>
                  <a:pt x="12359" y="4474"/>
                </a:lnTo>
                <a:lnTo>
                  <a:pt x="12400" y="4455"/>
                </a:lnTo>
                <a:lnTo>
                  <a:pt x="12438" y="4433"/>
                </a:lnTo>
                <a:lnTo>
                  <a:pt x="12474" y="4407"/>
                </a:lnTo>
                <a:lnTo>
                  <a:pt x="12506" y="4378"/>
                </a:lnTo>
                <a:lnTo>
                  <a:pt x="12535" y="4345"/>
                </a:lnTo>
                <a:lnTo>
                  <a:pt x="12560" y="4309"/>
                </a:lnTo>
                <a:lnTo>
                  <a:pt x="12583" y="4270"/>
                </a:lnTo>
                <a:lnTo>
                  <a:pt x="12601" y="4229"/>
                </a:lnTo>
                <a:lnTo>
                  <a:pt x="12616" y="4185"/>
                </a:lnTo>
                <a:lnTo>
                  <a:pt x="12626" y="4138"/>
                </a:lnTo>
                <a:lnTo>
                  <a:pt x="12633" y="4088"/>
                </a:lnTo>
                <a:lnTo>
                  <a:pt x="12635" y="4037"/>
                </a:lnTo>
                <a:lnTo>
                  <a:pt x="12635" y="2275"/>
                </a:lnTo>
                <a:lnTo>
                  <a:pt x="12633" y="2222"/>
                </a:lnTo>
                <a:lnTo>
                  <a:pt x="12626" y="2172"/>
                </a:lnTo>
                <a:lnTo>
                  <a:pt x="12615" y="2124"/>
                </a:lnTo>
                <a:lnTo>
                  <a:pt x="12601" y="2080"/>
                </a:lnTo>
                <a:lnTo>
                  <a:pt x="12582" y="2038"/>
                </a:lnTo>
                <a:lnTo>
                  <a:pt x="12560" y="1999"/>
                </a:lnTo>
                <a:lnTo>
                  <a:pt x="12533" y="1963"/>
                </a:lnTo>
                <a:lnTo>
                  <a:pt x="12504" y="1931"/>
                </a:lnTo>
                <a:lnTo>
                  <a:pt x="12471" y="1902"/>
                </a:lnTo>
                <a:lnTo>
                  <a:pt x="12435" y="1876"/>
                </a:lnTo>
                <a:lnTo>
                  <a:pt x="12395" y="1854"/>
                </a:lnTo>
                <a:lnTo>
                  <a:pt x="12353" y="1836"/>
                </a:lnTo>
                <a:lnTo>
                  <a:pt x="12307" y="1821"/>
                </a:lnTo>
                <a:lnTo>
                  <a:pt x="12259" y="1811"/>
                </a:lnTo>
                <a:lnTo>
                  <a:pt x="12208" y="1804"/>
                </a:lnTo>
                <a:lnTo>
                  <a:pt x="12155" y="1802"/>
                </a:lnTo>
                <a:lnTo>
                  <a:pt x="10408" y="1802"/>
                </a:lnTo>
                <a:lnTo>
                  <a:pt x="10354" y="1804"/>
                </a:lnTo>
                <a:lnTo>
                  <a:pt x="10302" y="1811"/>
                </a:lnTo>
                <a:lnTo>
                  <a:pt x="10254" y="1821"/>
                </a:lnTo>
                <a:lnTo>
                  <a:pt x="10208" y="1836"/>
                </a:lnTo>
                <a:lnTo>
                  <a:pt x="10166" y="1855"/>
                </a:lnTo>
                <a:lnTo>
                  <a:pt x="10126" y="1877"/>
                </a:lnTo>
                <a:lnTo>
                  <a:pt x="10090" y="1903"/>
                </a:lnTo>
                <a:lnTo>
                  <a:pt x="10057" y="1933"/>
                </a:lnTo>
                <a:lnTo>
                  <a:pt x="10028" y="1966"/>
                </a:lnTo>
                <a:lnTo>
                  <a:pt x="10002" y="2003"/>
                </a:lnTo>
                <a:lnTo>
                  <a:pt x="9980" y="2043"/>
                </a:lnTo>
                <a:lnTo>
                  <a:pt x="9962" y="2086"/>
                </a:lnTo>
                <a:lnTo>
                  <a:pt x="9947" y="2132"/>
                </a:lnTo>
                <a:lnTo>
                  <a:pt x="9936" y="2182"/>
                </a:lnTo>
                <a:lnTo>
                  <a:pt x="9930" y="2234"/>
                </a:lnTo>
                <a:lnTo>
                  <a:pt x="9927" y="2289"/>
                </a:lnTo>
                <a:lnTo>
                  <a:pt x="9927" y="3148"/>
                </a:lnTo>
                <a:close/>
              </a:path>
            </a:pathLst>
          </a:custGeom>
          <a:solidFill>
            <a:srgbClr val="123563"/>
          </a:solidFill>
          <a:ln>
            <a:noFill/>
          </a:ln>
          <a:effectLst/>
        </p:spPr>
        <p:txBody>
          <a:bodyPr wrap="none" anchor="ctr"/>
          <a:lstStyle/>
          <a:p>
            <a:endParaRPr lang="de-DE" sz="1800" dirty="0">
              <a:latin typeface="BISansOpti"/>
            </a:endParaRP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0" hasCustomPrompt="1"/>
          </p:nvPr>
        </p:nvSpPr>
        <p:spPr>
          <a:xfrm>
            <a:off x="9441600" y="345600"/>
            <a:ext cx="2304000" cy="4800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1" i="0" baseline="0">
                <a:solidFill>
                  <a:schemeClr val="accent1"/>
                </a:solidFill>
                <a:latin typeface="BISansOpti"/>
                <a:cs typeface="BISansOpti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sz="1000" b="1" dirty="0">
                <a:solidFill>
                  <a:srgbClr val="123563"/>
                </a:solidFill>
              </a:rPr>
              <a:t>Firmenbezeichnung</a:t>
            </a:r>
          </a:p>
          <a:p>
            <a:pPr lvl="0"/>
            <a:endParaRPr lang="de-DE" dirty="0"/>
          </a:p>
        </p:txBody>
      </p:sp>
      <p:sp>
        <p:nvSpPr>
          <p:cNvPr id="25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9441600" y="951208"/>
            <a:ext cx="2304000" cy="2064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i="0" baseline="0">
                <a:solidFill>
                  <a:schemeClr val="accent1"/>
                </a:solidFill>
                <a:latin typeface="BISansOpti"/>
                <a:cs typeface="BISansOpti"/>
              </a:defRPr>
            </a:lvl1pPr>
          </a:lstStyle>
          <a:p>
            <a:pPr lvl="0"/>
            <a:r>
              <a:rPr lang="de-DE" dirty="0"/>
              <a:t>Straße / Nr.</a:t>
            </a:r>
          </a:p>
        </p:txBody>
      </p:sp>
      <p:sp>
        <p:nvSpPr>
          <p:cNvPr id="26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9441600" y="1161575"/>
            <a:ext cx="2304000" cy="2064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i="0" baseline="0">
                <a:solidFill>
                  <a:schemeClr val="accent1"/>
                </a:solidFill>
                <a:latin typeface="BISansOpti"/>
                <a:cs typeface="BISansOpti"/>
              </a:defRPr>
            </a:lvl1pPr>
          </a:lstStyle>
          <a:p>
            <a:pPr lvl="0"/>
            <a:r>
              <a:rPr lang="de-DE" dirty="0"/>
              <a:t>PLZ / Ort</a:t>
            </a:r>
          </a:p>
        </p:txBody>
      </p:sp>
      <p:sp>
        <p:nvSpPr>
          <p:cNvPr id="27" name="Textplatzhalter 6"/>
          <p:cNvSpPr>
            <a:spLocks noGrp="1"/>
          </p:cNvSpPr>
          <p:nvPr>
            <p:ph type="body" sz="quarter" idx="14" hasCustomPrompt="1"/>
          </p:nvPr>
        </p:nvSpPr>
        <p:spPr>
          <a:xfrm>
            <a:off x="9921600" y="1463708"/>
            <a:ext cx="1824000" cy="2064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i="0" baseline="0">
                <a:solidFill>
                  <a:schemeClr val="accent1"/>
                </a:solidFill>
                <a:latin typeface="BISansOpti"/>
                <a:cs typeface="BISansOpti"/>
              </a:defRPr>
            </a:lvl1pPr>
          </a:lstStyle>
          <a:p>
            <a:pPr lvl="0"/>
            <a:r>
              <a:rPr lang="de-DE" dirty="0"/>
              <a:t>Telefonnummer</a:t>
            </a:r>
          </a:p>
        </p:txBody>
      </p:sp>
      <p:sp>
        <p:nvSpPr>
          <p:cNvPr id="19" name="Textfeld 18"/>
          <p:cNvSpPr txBox="1"/>
          <p:nvPr userDrawn="1"/>
        </p:nvSpPr>
        <p:spPr>
          <a:xfrm>
            <a:off x="9441600" y="1463708"/>
            <a:ext cx="197170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sz="1000" dirty="0">
                <a:solidFill>
                  <a:srgbClr val="003366"/>
                </a:solidFill>
                <a:latin typeface="BISansOpti"/>
                <a:cs typeface="BISansOpti"/>
              </a:rPr>
              <a:t>Tel:</a:t>
            </a:r>
          </a:p>
        </p:txBody>
      </p:sp>
      <p:sp>
        <p:nvSpPr>
          <p:cNvPr id="28" name="Textplatzhalter 6"/>
          <p:cNvSpPr>
            <a:spLocks noGrp="1"/>
          </p:cNvSpPr>
          <p:nvPr>
            <p:ph type="body" sz="quarter" idx="15" hasCustomPrompt="1"/>
          </p:nvPr>
        </p:nvSpPr>
        <p:spPr>
          <a:xfrm>
            <a:off x="9921600" y="1675200"/>
            <a:ext cx="1824000" cy="2064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i="0" baseline="0">
                <a:solidFill>
                  <a:schemeClr val="accent1"/>
                </a:solidFill>
                <a:latin typeface="BISansOpti"/>
                <a:cs typeface="BISansOpti"/>
              </a:defRPr>
            </a:lvl1pPr>
          </a:lstStyle>
          <a:p>
            <a:pPr lvl="0"/>
            <a:r>
              <a:rPr lang="de-DE" dirty="0"/>
              <a:t>Fax-Nummer</a:t>
            </a:r>
          </a:p>
        </p:txBody>
      </p:sp>
      <p:sp>
        <p:nvSpPr>
          <p:cNvPr id="29" name="Textfeld 28"/>
          <p:cNvSpPr txBox="1"/>
          <p:nvPr userDrawn="1"/>
        </p:nvSpPr>
        <p:spPr>
          <a:xfrm>
            <a:off x="9441600" y="1675200"/>
            <a:ext cx="219612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sz="1000" dirty="0">
                <a:solidFill>
                  <a:srgbClr val="003366"/>
                </a:solidFill>
                <a:latin typeface="BISansOpti"/>
                <a:cs typeface="BISansOpti"/>
              </a:rPr>
              <a:t>Fax:</a:t>
            </a:r>
          </a:p>
        </p:txBody>
      </p:sp>
      <p:sp>
        <p:nvSpPr>
          <p:cNvPr id="30" name="Textplatzhalter 6"/>
          <p:cNvSpPr>
            <a:spLocks noGrp="1"/>
          </p:cNvSpPr>
          <p:nvPr>
            <p:ph type="body" sz="quarter" idx="16" hasCustomPrompt="1"/>
          </p:nvPr>
        </p:nvSpPr>
        <p:spPr>
          <a:xfrm>
            <a:off x="9441600" y="1971975"/>
            <a:ext cx="2304000" cy="2064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i="0" baseline="0">
                <a:solidFill>
                  <a:schemeClr val="accent1"/>
                </a:solidFill>
                <a:latin typeface="BISansOpti"/>
                <a:cs typeface="BISansOpti"/>
              </a:defRPr>
            </a:lvl1pPr>
          </a:lstStyle>
          <a:p>
            <a:pPr lvl="0"/>
            <a:r>
              <a:rPr lang="de-DE" dirty="0"/>
              <a:t>E-Mail-Adresse</a:t>
            </a:r>
          </a:p>
        </p:txBody>
      </p:sp>
      <p:sp>
        <p:nvSpPr>
          <p:cNvPr id="31" name="Textplatzhalter 6"/>
          <p:cNvSpPr>
            <a:spLocks noGrp="1"/>
          </p:cNvSpPr>
          <p:nvPr>
            <p:ph type="body" sz="quarter" idx="17" hasCustomPrompt="1"/>
          </p:nvPr>
        </p:nvSpPr>
        <p:spPr>
          <a:xfrm>
            <a:off x="9441600" y="2184000"/>
            <a:ext cx="2304000" cy="2064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i="0" baseline="0">
                <a:solidFill>
                  <a:schemeClr val="accent1"/>
                </a:solidFill>
                <a:latin typeface="BISansOpti"/>
                <a:cs typeface="BISansOpti"/>
              </a:defRPr>
            </a:lvl1pPr>
          </a:lstStyle>
          <a:p>
            <a:pPr lvl="0"/>
            <a:r>
              <a:rPr lang="de-DE" dirty="0"/>
              <a:t>Website-Adresse</a:t>
            </a:r>
          </a:p>
        </p:txBody>
      </p:sp>
      <p:sp>
        <p:nvSpPr>
          <p:cNvPr id="21" name="Textplatzhalter 20"/>
          <p:cNvSpPr>
            <a:spLocks noGrp="1"/>
          </p:cNvSpPr>
          <p:nvPr>
            <p:ph type="body" sz="quarter" idx="18" hasCustomPrompt="1"/>
          </p:nvPr>
        </p:nvSpPr>
        <p:spPr>
          <a:xfrm>
            <a:off x="489600" y="2760002"/>
            <a:ext cx="7166400" cy="472017"/>
          </a:xfrm>
        </p:spPr>
        <p:txBody>
          <a:bodyPr/>
          <a:lstStyle>
            <a:lvl1pPr marL="0" indent="0">
              <a:buNone/>
              <a:defRPr baseline="0">
                <a:solidFill>
                  <a:srgbClr val="003366"/>
                </a:solidFill>
                <a:latin typeface="BISansOpti"/>
                <a:cs typeface="BISansOpti"/>
              </a:defRPr>
            </a:lvl1pPr>
          </a:lstStyle>
          <a:p>
            <a:pPr lvl="0"/>
            <a:r>
              <a:rPr lang="de-DE" noProof="0" dirty="0"/>
              <a:t>Überschrift für weitere Informationen:</a:t>
            </a:r>
          </a:p>
        </p:txBody>
      </p:sp>
      <p:sp>
        <p:nvSpPr>
          <p:cNvPr id="33" name="Textplatzhalter 20"/>
          <p:cNvSpPr>
            <a:spLocks noGrp="1"/>
          </p:cNvSpPr>
          <p:nvPr>
            <p:ph type="body" sz="quarter" idx="19" hasCustomPrompt="1"/>
          </p:nvPr>
        </p:nvSpPr>
        <p:spPr>
          <a:xfrm>
            <a:off x="489600" y="3233728"/>
            <a:ext cx="7166400" cy="18816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800" baseline="0">
                <a:solidFill>
                  <a:schemeClr val="accent2"/>
                </a:solidFill>
                <a:latin typeface="BISansOpti"/>
                <a:cs typeface="BISansOpti"/>
              </a:defRPr>
            </a:lvl1pPr>
          </a:lstStyle>
          <a:p>
            <a:pPr lvl="0"/>
            <a:r>
              <a:rPr lang="de-DE" dirty="0"/>
              <a:t>Fügen Sie hier die Website-Adressen ein</a:t>
            </a:r>
          </a:p>
        </p:txBody>
      </p:sp>
      <p:pic>
        <p:nvPicPr>
          <p:cNvPr id="32" name="Grafik 2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26261" y="5889117"/>
            <a:ext cx="1679601" cy="508800"/>
          </a:xfrm>
          <a:prstGeom prst="rect">
            <a:avLst/>
          </a:prstGeom>
        </p:spPr>
      </p:pic>
      <p:sp>
        <p:nvSpPr>
          <p:cNvPr id="35" name="Textplatzhalter 2"/>
          <p:cNvSpPr>
            <a:spLocks noGrp="1"/>
          </p:cNvSpPr>
          <p:nvPr>
            <p:ph type="body" sz="quarter" idx="20" hasCustomPrompt="1"/>
          </p:nvPr>
        </p:nvSpPr>
        <p:spPr>
          <a:xfrm>
            <a:off x="489600" y="5519157"/>
            <a:ext cx="6168000" cy="820737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000" baseline="0">
                <a:solidFill>
                  <a:srgbClr val="1F497D"/>
                </a:solidFill>
              </a:defRPr>
            </a:lvl1pPr>
            <a:lvl2pPr marL="266700" indent="0">
              <a:buNone/>
              <a:defRPr sz="1000">
                <a:solidFill>
                  <a:srgbClr val="1F497D"/>
                </a:solidFill>
              </a:defRPr>
            </a:lvl2pPr>
            <a:lvl3pPr marL="450850" indent="0">
              <a:buNone/>
              <a:defRPr sz="1000">
                <a:solidFill>
                  <a:srgbClr val="1F497D"/>
                </a:solidFill>
              </a:defRPr>
            </a:lvl3pPr>
            <a:lvl4pPr marL="628650" indent="0">
              <a:buNone/>
              <a:defRPr sz="1000">
                <a:solidFill>
                  <a:srgbClr val="1F497D"/>
                </a:solidFill>
              </a:defRPr>
            </a:lvl4pPr>
            <a:lvl5pPr marL="806450" indent="0">
              <a:buNone/>
              <a:defRPr sz="1000">
                <a:solidFill>
                  <a:srgbClr val="1F497D"/>
                </a:solidFill>
              </a:defRPr>
            </a:lvl5pPr>
          </a:lstStyle>
          <a:p>
            <a:pPr algn="just"/>
            <a:r>
              <a:rPr lang="de-DE" sz="1000" noProof="0" dirty="0">
                <a:solidFill>
                  <a:srgbClr val="1F497D"/>
                </a:solidFill>
                <a:latin typeface="BISansOpti"/>
                <a:cs typeface="BISansOpti"/>
              </a:rPr>
              <a:t>Zum Einfügen des Copyright-Textes hier klicken</a:t>
            </a:r>
          </a:p>
        </p:txBody>
      </p:sp>
      <p:sp>
        <p:nvSpPr>
          <p:cNvPr id="37" name="Textfeld 36"/>
          <p:cNvSpPr txBox="1"/>
          <p:nvPr userDrawn="1"/>
        </p:nvSpPr>
        <p:spPr>
          <a:xfrm>
            <a:off x="490102" y="5313971"/>
            <a:ext cx="1800924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just"/>
            <a:r>
              <a:rPr lang="de-DE" sz="1000" dirty="0">
                <a:solidFill>
                  <a:srgbClr val="1F497D"/>
                </a:solidFill>
                <a:latin typeface="BISansOpti"/>
                <a:cs typeface="BISansOpti"/>
              </a:rPr>
              <a:t>© Boehringer Ingelheim</a:t>
            </a:r>
          </a:p>
        </p:txBody>
      </p:sp>
      <p:sp>
        <p:nvSpPr>
          <p:cNvPr id="38" name="Textplatzhalter 4"/>
          <p:cNvSpPr>
            <a:spLocks noGrp="1"/>
          </p:cNvSpPr>
          <p:nvPr>
            <p:ph type="body" sz="quarter" idx="21" hasCustomPrompt="1"/>
          </p:nvPr>
        </p:nvSpPr>
        <p:spPr>
          <a:xfrm>
            <a:off x="2291026" y="5314963"/>
            <a:ext cx="4366577" cy="153888"/>
          </a:xfrm>
        </p:spPr>
        <p:txBody>
          <a:bodyPr wrap="square">
            <a:spAutoFit/>
          </a:bodyPr>
          <a:lstStyle>
            <a:lvl1pPr marL="0" indent="0">
              <a:buNone/>
              <a:defRPr sz="1000">
                <a:solidFill>
                  <a:srgbClr val="1F497D"/>
                </a:solidFill>
              </a:defRPr>
            </a:lvl1pPr>
            <a:lvl2pPr marL="266700" indent="0">
              <a:buNone/>
              <a:defRPr sz="1000">
                <a:solidFill>
                  <a:srgbClr val="1F497D"/>
                </a:solidFill>
              </a:defRPr>
            </a:lvl2pPr>
            <a:lvl3pPr marL="450850" indent="0">
              <a:buNone/>
              <a:defRPr sz="1000">
                <a:solidFill>
                  <a:srgbClr val="1F497D"/>
                </a:solidFill>
              </a:defRPr>
            </a:lvl3pPr>
            <a:lvl4pPr marL="628650" indent="0">
              <a:buNone/>
              <a:defRPr sz="1000">
                <a:solidFill>
                  <a:srgbClr val="1F497D"/>
                </a:solidFill>
              </a:defRPr>
            </a:lvl4pPr>
            <a:lvl5pPr marL="806450" indent="0">
              <a:buNone/>
              <a:defRPr sz="1000">
                <a:solidFill>
                  <a:srgbClr val="1F497D"/>
                </a:solidFill>
              </a:defRPr>
            </a:lvl5pPr>
          </a:lstStyle>
          <a:p>
            <a:pPr lvl="0"/>
            <a:r>
              <a:rPr lang="de-DE" noProof="0" dirty="0"/>
              <a:t>Zum Einfügen des Copyright-Jahres hier klicken</a:t>
            </a:r>
          </a:p>
        </p:txBody>
      </p:sp>
    </p:spTree>
    <p:extLst>
      <p:ext uri="{BB962C8B-B14F-4D97-AF65-F5344CB8AC3E}">
        <p14:creationId xmlns:p14="http://schemas.microsoft.com/office/powerpoint/2010/main" val="39543230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  <a:endParaRPr lang="en-US"/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TW" altLang="en-US"/>
              <a:t>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  <a:endParaRPr lang="en-US"/>
          </a:p>
        </p:txBody>
      </p:sp>
      <p:sp>
        <p:nvSpPr>
          <p:cNvPr id="4" name="日期版面配置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7D950A-4CAC-4757-8F78-BD20CE7AF726}" type="datetimeFigureOut">
              <a:rPr lang="en-US" smtClean="0"/>
              <a:t>12/14/2021</a:t>
            </a:fld>
            <a:endParaRPr lang="en-US"/>
          </a:p>
        </p:txBody>
      </p:sp>
      <p:sp>
        <p:nvSpPr>
          <p:cNvPr id="5" name="頁尾版面配置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投影片編號版面配置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ED4F5C-C21F-48C7-AD8F-28BD505AC09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48034474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/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774" t="21906" r="22560" b="9618"/>
          <a:stretch/>
        </p:blipFill>
        <p:spPr bwMode="auto">
          <a:xfrm>
            <a:off x="1" y="0"/>
            <a:ext cx="99568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24" name="Gerade Verbindung 23"/>
          <p:cNvCxnSpPr/>
          <p:nvPr/>
        </p:nvCxnSpPr>
        <p:spPr>
          <a:xfrm>
            <a:off x="7" y="2492389"/>
            <a:ext cx="12191999" cy="0"/>
          </a:xfrm>
          <a:prstGeom prst="line">
            <a:avLst/>
          </a:prstGeom>
          <a:ln w="12700">
            <a:solidFill>
              <a:srgbClr val="0033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490106" y="2654884"/>
            <a:ext cx="7845825" cy="553998"/>
          </a:xfrm>
        </p:spPr>
        <p:txBody>
          <a:bodyPr wrap="square" lIns="0">
            <a:spAutoFit/>
          </a:bodyPr>
          <a:lstStyle>
            <a:lvl1pPr>
              <a:defRPr sz="3600">
                <a:solidFill>
                  <a:srgbClr val="003366"/>
                </a:solidFill>
              </a:defRPr>
            </a:lvl1pPr>
          </a:lstStyle>
          <a:p>
            <a:r>
              <a:rPr lang="de-DE" noProof="0" dirty="0"/>
              <a:t>Titel durch Klicken bearbeit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490106" y="4763672"/>
            <a:ext cx="7845825" cy="276999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>
                <a:solidFill>
                  <a:srgbClr val="003366"/>
                </a:solidFill>
                <a:latin typeface="BISansCond" panose="02000006050000020004" pitchFamily="2" charset="0"/>
              </a:defRPr>
            </a:lvl1pPr>
            <a:lvl2pPr marL="3428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6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4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3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noProof="0" dirty="0"/>
              <a:t>Untertitel durch Klicken bearbeiten</a:t>
            </a:r>
          </a:p>
        </p:txBody>
      </p: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22942" y="6120399"/>
            <a:ext cx="1679601" cy="381600"/>
          </a:xfrm>
          <a:prstGeom prst="rect">
            <a:avLst/>
          </a:prstGeom>
        </p:spPr>
      </p:pic>
      <p:sp>
        <p:nvSpPr>
          <p:cNvPr id="11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724524" y="749516"/>
            <a:ext cx="3014400" cy="2260800"/>
          </a:xfrm>
          <a:prstGeom prst="ellipse">
            <a:avLst/>
          </a:prstGeom>
          <a:gradFill flip="none" rotWithShape="1">
            <a:gsLst>
              <a:gs pos="0">
                <a:srgbClr val="002142"/>
              </a:gs>
              <a:gs pos="100000">
                <a:srgbClr val="275187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>
            <a:normAutofit/>
          </a:bodyPr>
          <a:lstStyle>
            <a:lvl1pPr marL="0" indent="0" algn="ctr">
              <a:buNone/>
              <a:defRPr lang="de-DE" sz="1800" dirty="0">
                <a:solidFill>
                  <a:schemeClr val="bg1"/>
                </a:solidFill>
                <a:latin typeface="+mj-lt"/>
              </a:defRPr>
            </a:lvl1pPr>
          </a:lstStyle>
          <a:p>
            <a:pPr marL="0" lvl="0" algn="ctr"/>
            <a:r>
              <a:rPr lang="de-DE" noProof="0" dirty="0"/>
              <a:t>Infotext bearbeiten [Variable Schriftgröße]</a:t>
            </a:r>
          </a:p>
        </p:txBody>
      </p:sp>
      <p:sp>
        <p:nvSpPr>
          <p:cNvPr id="13" name="Titel 1"/>
          <p:cNvSpPr txBox="1">
            <a:spLocks/>
          </p:cNvSpPr>
          <p:nvPr userDrawn="1"/>
        </p:nvSpPr>
        <p:spPr>
          <a:xfrm>
            <a:off x="490101" y="2654884"/>
            <a:ext cx="7166475" cy="5539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4800" kern="1200">
                <a:solidFill>
                  <a:srgbClr val="003366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CH" sz="3600" dirty="0"/>
              <a:t>Titel durch Klicken bearbeiten</a:t>
            </a:r>
          </a:p>
        </p:txBody>
      </p:sp>
      <p:sp>
        <p:nvSpPr>
          <p:cNvPr id="15" name="Untertitel 2"/>
          <p:cNvSpPr txBox="1">
            <a:spLocks/>
          </p:cNvSpPr>
          <p:nvPr userDrawn="1"/>
        </p:nvSpPr>
        <p:spPr>
          <a:xfrm>
            <a:off x="490101" y="4763674"/>
            <a:ext cx="7166475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400"/>
              </a:spcBef>
              <a:buFont typeface="Arial" panose="020B0604020202020204" pitchFamily="34" charset="0"/>
              <a:buNone/>
              <a:defRPr sz="2400" kern="1200">
                <a:solidFill>
                  <a:srgbClr val="003366"/>
                </a:solidFill>
                <a:latin typeface="BISansCond" panose="02000006050000020004" pitchFamily="2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ts val="0"/>
              </a:spcBef>
              <a:buFont typeface="Wingdings" panose="05000000000000000000" pitchFamily="2" charset="2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800" dirty="0"/>
              <a:t>Untertitel durch Klicken bearbeiten</a:t>
            </a:r>
          </a:p>
        </p:txBody>
      </p:sp>
      <p:cxnSp>
        <p:nvCxnSpPr>
          <p:cNvPr id="10" name="Gerade Verbindung 9"/>
          <p:cNvCxnSpPr/>
          <p:nvPr userDrawn="1"/>
        </p:nvCxnSpPr>
        <p:spPr>
          <a:xfrm>
            <a:off x="7" y="2492389"/>
            <a:ext cx="12191999" cy="0"/>
          </a:xfrm>
          <a:prstGeom prst="line">
            <a:avLst/>
          </a:prstGeom>
          <a:ln w="12700">
            <a:solidFill>
              <a:srgbClr val="0033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607180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mit Info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eck 12"/>
          <p:cNvSpPr/>
          <p:nvPr userDrawn="1"/>
        </p:nvSpPr>
        <p:spPr>
          <a:xfrm>
            <a:off x="0" y="2928495"/>
            <a:ext cx="12192000" cy="3929507"/>
          </a:xfrm>
          <a:prstGeom prst="rect">
            <a:avLst/>
          </a:prstGeom>
          <a:gradFill>
            <a:gsLst>
              <a:gs pos="0">
                <a:srgbClr val="6699CC">
                  <a:alpha val="40000"/>
                </a:srgbClr>
              </a:gs>
              <a:gs pos="100000">
                <a:srgbClr val="FFFFFF"/>
              </a:gs>
            </a:gsLst>
            <a:lin ang="162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GB" sz="1050" dirty="0">
              <a:solidFill>
                <a:srgbClr val="000000"/>
              </a:solidFill>
            </a:endParaRPr>
          </a:p>
        </p:txBody>
      </p:sp>
      <p:pic>
        <p:nvPicPr>
          <p:cNvPr id="14" name="Picture 2"/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231" t="19013" b="13976"/>
          <a:stretch/>
        </p:blipFill>
        <p:spPr bwMode="auto">
          <a:xfrm>
            <a:off x="0" y="0"/>
            <a:ext cx="8573053" cy="685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24" name="Gerade Verbindung 23"/>
          <p:cNvCxnSpPr/>
          <p:nvPr/>
        </p:nvCxnSpPr>
        <p:spPr>
          <a:xfrm>
            <a:off x="7" y="2492389"/>
            <a:ext cx="12191999" cy="0"/>
          </a:xfrm>
          <a:prstGeom prst="line">
            <a:avLst/>
          </a:prstGeom>
          <a:ln w="12700">
            <a:solidFill>
              <a:srgbClr val="0033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490101" y="2654884"/>
            <a:ext cx="7166475" cy="553998"/>
          </a:xfrm>
        </p:spPr>
        <p:txBody>
          <a:bodyPr wrap="square">
            <a:spAutoFit/>
          </a:bodyPr>
          <a:lstStyle>
            <a:lvl1pPr>
              <a:defRPr sz="3600">
                <a:solidFill>
                  <a:srgbClr val="003366"/>
                </a:solidFill>
              </a:defRPr>
            </a:lvl1pPr>
          </a:lstStyle>
          <a:p>
            <a:r>
              <a:rPr lang="de-CH" noProof="0" dirty="0"/>
              <a:t>Titel durch Klicken bearbeit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490101" y="4763672"/>
            <a:ext cx="7166475" cy="276999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>
                <a:solidFill>
                  <a:srgbClr val="003366"/>
                </a:solidFill>
                <a:latin typeface="BISansCond" panose="02000006050000020004" pitchFamily="2" charset="0"/>
              </a:defRPr>
            </a:lvl1pPr>
            <a:lvl2pPr marL="3428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6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4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3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noProof="0" dirty="0"/>
              <a:t>Untertitel durch Klicken bearbeiten</a:t>
            </a:r>
          </a:p>
        </p:txBody>
      </p:sp>
      <p:cxnSp>
        <p:nvCxnSpPr>
          <p:cNvPr id="11" name="Gerade Verbindung 10"/>
          <p:cNvCxnSpPr/>
          <p:nvPr userDrawn="1"/>
        </p:nvCxnSpPr>
        <p:spPr>
          <a:xfrm>
            <a:off x="7" y="2492389"/>
            <a:ext cx="12191999" cy="0"/>
          </a:xfrm>
          <a:prstGeom prst="line">
            <a:avLst/>
          </a:prstGeom>
          <a:ln w="12700">
            <a:solidFill>
              <a:srgbClr val="0033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724524" y="749516"/>
            <a:ext cx="3014400" cy="2260800"/>
          </a:xfrm>
          <a:prstGeom prst="ellipse">
            <a:avLst/>
          </a:prstGeom>
          <a:gradFill flip="none" rotWithShape="1">
            <a:gsLst>
              <a:gs pos="0">
                <a:srgbClr val="002142"/>
              </a:gs>
              <a:gs pos="100000">
                <a:srgbClr val="275187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>
            <a:normAutofit/>
          </a:bodyPr>
          <a:lstStyle>
            <a:lvl1pPr marL="0" indent="0" algn="ctr">
              <a:buNone/>
              <a:defRPr lang="de-DE" sz="1800" dirty="0">
                <a:solidFill>
                  <a:schemeClr val="bg1"/>
                </a:solidFill>
                <a:latin typeface="+mj-lt"/>
              </a:defRPr>
            </a:lvl1pPr>
          </a:lstStyle>
          <a:p>
            <a:pPr marL="0" lvl="0" algn="ctr"/>
            <a:r>
              <a:rPr lang="de-DE" noProof="0" dirty="0"/>
              <a:t>Infotext bearbeiten [Variable Schriftgröße]</a:t>
            </a:r>
          </a:p>
        </p:txBody>
      </p: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22942" y="6120399"/>
            <a:ext cx="1679601" cy="381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39934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page_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 userDrawn="1"/>
        </p:nvSpPr>
        <p:spPr>
          <a:xfrm>
            <a:off x="0" y="2928494"/>
            <a:ext cx="12192000" cy="3929507"/>
          </a:xfrm>
          <a:prstGeom prst="rect">
            <a:avLst/>
          </a:prstGeom>
          <a:gradFill>
            <a:gsLst>
              <a:gs pos="0">
                <a:srgbClr val="6699CC">
                  <a:alpha val="40000"/>
                </a:srgbClr>
              </a:gs>
              <a:gs pos="100000">
                <a:srgbClr val="FFFFFF"/>
              </a:gs>
            </a:gsLst>
            <a:lin ang="162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sz="1400" dirty="0">
              <a:solidFill>
                <a:prstClr val="black"/>
              </a:solidFill>
            </a:endParaRPr>
          </a:p>
        </p:txBody>
      </p:sp>
      <p:cxnSp>
        <p:nvCxnSpPr>
          <p:cNvPr id="5" name="Gerade Verbindung 4"/>
          <p:cNvCxnSpPr/>
          <p:nvPr userDrawn="1"/>
        </p:nvCxnSpPr>
        <p:spPr>
          <a:xfrm>
            <a:off x="0" y="971453"/>
            <a:ext cx="12192000" cy="0"/>
          </a:xfrm>
          <a:prstGeom prst="line">
            <a:avLst/>
          </a:prstGeom>
          <a:ln w="12700">
            <a:solidFill>
              <a:srgbClr val="0033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5924" y="6578958"/>
            <a:ext cx="840360" cy="190510"/>
          </a:xfrm>
          <a:prstGeom prst="rect">
            <a:avLst/>
          </a:prstGeom>
        </p:spPr>
      </p:pic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/>
              <a:t>Click to edit Master title styl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8F670B-D7B9-419C-9EDC-EEA2E815864B}" type="datetime1">
              <a:rPr lang="en-GB" smtClean="0">
                <a:solidFill>
                  <a:prstClr val="white">
                    <a:lumMod val="50000"/>
                  </a:prstClr>
                </a:solidFill>
              </a:rPr>
              <a:pPr/>
              <a:t>14/12/2021</a:t>
            </a:fld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3B55C4-4F5A-416B-997D-6CE47EB0A945}" type="slidenum">
              <a:rPr lang="en-GB" smtClean="0">
                <a:solidFill>
                  <a:prstClr val="white">
                    <a:lumMod val="50000"/>
                  </a:prstClr>
                </a:solidFill>
              </a:rPr>
              <a:pPr/>
              <a:t>‹#›</a:t>
            </a:fld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171032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eck 12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rgbClr val="89C0FF"/>
              </a:gs>
              <a:gs pos="100000">
                <a:srgbClr val="5486C1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350" dirty="0">
              <a:solidFill>
                <a:srgbClr val="FFFFFF"/>
              </a:solidFill>
            </a:endParaRPr>
          </a:p>
        </p:txBody>
      </p:sp>
      <p:cxnSp>
        <p:nvCxnSpPr>
          <p:cNvPr id="17" name="Gerade Verbindung 16"/>
          <p:cNvCxnSpPr/>
          <p:nvPr/>
        </p:nvCxnSpPr>
        <p:spPr>
          <a:xfrm>
            <a:off x="0" y="2492389"/>
            <a:ext cx="12192000" cy="0"/>
          </a:xfrm>
          <a:prstGeom prst="line">
            <a:avLst/>
          </a:prstGeom>
          <a:ln w="1270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Textplatzhalter 18"/>
          <p:cNvSpPr>
            <a:spLocks noGrp="1"/>
          </p:cNvSpPr>
          <p:nvPr>
            <p:ph type="body" sz="quarter" idx="11" hasCustomPrompt="1"/>
          </p:nvPr>
        </p:nvSpPr>
        <p:spPr>
          <a:xfrm>
            <a:off x="469104" y="2640131"/>
            <a:ext cx="8909357" cy="553998"/>
          </a:xfrm>
        </p:spPr>
        <p:txBody>
          <a:bodyPr wrap="square">
            <a:spAutoFit/>
          </a:bodyPr>
          <a:lstStyle>
            <a:lvl1pPr marL="0" indent="0">
              <a:buNone/>
              <a:defRPr sz="3600">
                <a:solidFill>
                  <a:schemeClr val="bg1"/>
                </a:solidFill>
                <a:latin typeface="BISansCond" panose="02000006050000020004" pitchFamily="2" charset="0"/>
              </a:defRPr>
            </a:lvl1pPr>
          </a:lstStyle>
          <a:p>
            <a:pPr lvl="0"/>
            <a:r>
              <a:rPr lang="en-GB" noProof="0" dirty="0" err="1"/>
              <a:t>Kapitel-Titel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  <p:sp>
        <p:nvSpPr>
          <p:cNvPr id="20" name="Textplatzhalt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469105" y="3718150"/>
            <a:ext cx="5412315" cy="276999"/>
          </a:xfrm>
        </p:spPr>
        <p:txBody>
          <a:bodyPr wrap="square">
            <a:spAutoFit/>
          </a:bodyPr>
          <a:lstStyle>
            <a:lvl1pPr marL="0" indent="0">
              <a:buNone/>
              <a:defRPr sz="1800" baseline="0">
                <a:solidFill>
                  <a:schemeClr val="bg1"/>
                </a:solidFill>
                <a:latin typeface="BISansCond" panose="02000006050000020004" pitchFamily="2" charset="0"/>
              </a:defRPr>
            </a:lvl1pPr>
          </a:lstStyle>
          <a:p>
            <a:pPr lvl="0"/>
            <a:r>
              <a:rPr lang="en-GB" noProof="0" dirty="0" err="1"/>
              <a:t>Optionalen</a:t>
            </a:r>
            <a:r>
              <a:rPr lang="en-GB" noProof="0" dirty="0"/>
              <a:t> </a:t>
            </a:r>
            <a:r>
              <a:rPr lang="en-GB" noProof="0" dirty="0" err="1"/>
              <a:t>Untertitel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  <p:cxnSp>
        <p:nvCxnSpPr>
          <p:cNvPr id="10" name="Gerade Verbindung 9"/>
          <p:cNvCxnSpPr/>
          <p:nvPr userDrawn="1"/>
        </p:nvCxnSpPr>
        <p:spPr>
          <a:xfrm>
            <a:off x="0" y="2492389"/>
            <a:ext cx="12192000" cy="0"/>
          </a:xfrm>
          <a:prstGeom prst="line">
            <a:avLst/>
          </a:prstGeom>
          <a:ln w="1270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26265" y="6120399"/>
            <a:ext cx="1679601" cy="381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16493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ive 1: Standard-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22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16" imgH="216" progId="TCLayout.ActiveDocument.1">
                  <p:embed/>
                </p:oleObj>
              </mc:Choice>
              <mc:Fallback>
                <p:oleObj name="think-cell Slide" r:id="rId3" imgW="216" imgH="216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22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/>
          <p:cNvSpPr/>
          <p:nvPr userDrawn="1"/>
        </p:nvSpPr>
        <p:spPr>
          <a:xfrm>
            <a:off x="0" y="2928495"/>
            <a:ext cx="12192000" cy="3929507"/>
          </a:xfrm>
          <a:prstGeom prst="rect">
            <a:avLst/>
          </a:prstGeom>
          <a:gradFill>
            <a:gsLst>
              <a:gs pos="0">
                <a:srgbClr val="6699CC">
                  <a:alpha val="40000"/>
                </a:srgbClr>
              </a:gs>
              <a:gs pos="100000">
                <a:srgbClr val="FFFFFF"/>
              </a:gs>
            </a:gsLst>
            <a:lin ang="162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GB" sz="1050" dirty="0">
              <a:solidFill>
                <a:srgbClr val="000000"/>
              </a:solidFill>
            </a:endParaRPr>
          </a:p>
        </p:txBody>
      </p:sp>
      <p:cxnSp>
        <p:nvCxnSpPr>
          <p:cNvPr id="5" name="Gerade Verbindung 4"/>
          <p:cNvCxnSpPr/>
          <p:nvPr userDrawn="1"/>
        </p:nvCxnSpPr>
        <p:spPr>
          <a:xfrm>
            <a:off x="0" y="971453"/>
            <a:ext cx="12192000" cy="0"/>
          </a:xfrm>
          <a:prstGeom prst="line">
            <a:avLst/>
          </a:prstGeom>
          <a:ln w="12700">
            <a:solidFill>
              <a:srgbClr val="0033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0" name="Datumsplatzhalter 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D8EF81-457D-4290-80C5-23526034FF6B}" type="datetime1">
              <a:rPr lang="en-GB" smtClean="0">
                <a:solidFill>
                  <a:srgbClr val="FFFFFF">
                    <a:lumMod val="50000"/>
                  </a:srgbClr>
                </a:solidFill>
              </a:rPr>
              <a:pPr/>
              <a:t>14/12/2021</a:t>
            </a:fld>
            <a:endParaRPr lang="en-GB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FFFFFF">
                    <a:lumMod val="50000"/>
                  </a:srgbClr>
                </a:solidFill>
              </a:rPr>
              <a:t>HP Regions - 2017 Annual Discussion</a:t>
            </a:r>
            <a:endParaRPr lang="en-GB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3B55C4-4F5A-416B-997D-6CE47EB0A945}" type="slidenum">
              <a:rPr lang="en-GB" smtClean="0">
                <a:solidFill>
                  <a:srgbClr val="FFFFFF">
                    <a:lumMod val="50000"/>
                  </a:srgbClr>
                </a:solidFill>
              </a:rPr>
              <a:pPr/>
              <a:t>‹#›</a:t>
            </a:fld>
            <a:endParaRPr lang="en-GB" dirty="0">
              <a:solidFill>
                <a:srgbClr val="FFFFFF">
                  <a:lumMod val="50000"/>
                </a:srgbClr>
              </a:solidFill>
            </a:endParaRPr>
          </a:p>
        </p:txBody>
      </p:sp>
      <p:pic>
        <p:nvPicPr>
          <p:cNvPr id="13" name="Grafik 12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5924" y="6578961"/>
            <a:ext cx="840360" cy="1905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49572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ive 3: Standard Foli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22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16" imgH="216" progId="TCLayout.ActiveDocument.1">
                  <p:embed/>
                </p:oleObj>
              </mc:Choice>
              <mc:Fallback>
                <p:oleObj name="think-cell Slide" r:id="rId3" imgW="216" imgH="216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22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hteck 11"/>
          <p:cNvSpPr/>
          <p:nvPr userDrawn="1"/>
        </p:nvSpPr>
        <p:spPr>
          <a:xfrm>
            <a:off x="0" y="2928495"/>
            <a:ext cx="12192000" cy="3929507"/>
          </a:xfrm>
          <a:prstGeom prst="rect">
            <a:avLst/>
          </a:prstGeom>
          <a:gradFill>
            <a:gsLst>
              <a:gs pos="0">
                <a:srgbClr val="6699CC">
                  <a:alpha val="40000"/>
                </a:srgbClr>
              </a:gs>
              <a:gs pos="100000">
                <a:srgbClr val="FFFFFF"/>
              </a:gs>
            </a:gsLst>
            <a:lin ang="162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GB" sz="1050" dirty="0">
              <a:solidFill>
                <a:srgbClr val="000000"/>
              </a:solidFill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en-GB" noProof="0" dirty="0"/>
          </a:p>
        </p:txBody>
      </p:sp>
      <p:cxnSp>
        <p:nvCxnSpPr>
          <p:cNvPr id="5" name="Gerade Verbindung 4"/>
          <p:cNvCxnSpPr/>
          <p:nvPr/>
        </p:nvCxnSpPr>
        <p:spPr>
          <a:xfrm>
            <a:off x="0" y="971453"/>
            <a:ext cx="12192000" cy="0"/>
          </a:xfrm>
          <a:prstGeom prst="line">
            <a:avLst/>
          </a:prstGeom>
          <a:ln w="12700">
            <a:solidFill>
              <a:srgbClr val="0033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10"/>
          <p:cNvCxnSpPr/>
          <p:nvPr userDrawn="1"/>
        </p:nvCxnSpPr>
        <p:spPr>
          <a:xfrm>
            <a:off x="0" y="971453"/>
            <a:ext cx="12192000" cy="0"/>
          </a:xfrm>
          <a:prstGeom prst="line">
            <a:avLst/>
          </a:prstGeom>
          <a:ln w="12700">
            <a:solidFill>
              <a:srgbClr val="0033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AE2C56-5F16-4DE5-A4DF-EBE640CAA51B}" type="datetime1">
              <a:rPr lang="en-GB" smtClean="0">
                <a:solidFill>
                  <a:srgbClr val="FFFFFF">
                    <a:lumMod val="50000"/>
                  </a:srgbClr>
                </a:solidFill>
              </a:rPr>
              <a:pPr/>
              <a:t>14/12/2021</a:t>
            </a:fld>
            <a:endParaRPr lang="en-GB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3B55C4-4F5A-416B-997D-6CE47EB0A945}" type="slidenum">
              <a:rPr lang="en-GB" smtClean="0">
                <a:solidFill>
                  <a:srgbClr val="FFFFFF">
                    <a:lumMod val="50000"/>
                  </a:srgbClr>
                </a:solidFill>
              </a:rPr>
              <a:pPr/>
              <a:t>‹#›</a:t>
            </a:fld>
            <a:endParaRPr lang="en-GB" dirty="0">
              <a:solidFill>
                <a:srgbClr val="FFFFFF">
                  <a:lumMod val="50000"/>
                </a:srgbClr>
              </a:solidFill>
            </a:endParaRPr>
          </a:p>
        </p:txBody>
      </p:sp>
      <p:pic>
        <p:nvPicPr>
          <p:cNvPr id="14" name="Grafik 13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5924" y="6578961"/>
            <a:ext cx="840360" cy="190511"/>
          </a:xfrm>
          <a:prstGeom prst="rect">
            <a:avLst/>
          </a:prstGeom>
        </p:spPr>
      </p:pic>
      <p:sp>
        <p:nvSpPr>
          <p:cNvPr id="13" name="Fußzeilenplatzhalter 5"/>
          <p:cNvSpPr txBox="1">
            <a:spLocks/>
          </p:cNvSpPr>
          <p:nvPr userDrawn="1"/>
        </p:nvSpPr>
        <p:spPr>
          <a:xfrm>
            <a:off x="1957621" y="6602847"/>
            <a:ext cx="8186291" cy="11541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000" kern="1200">
                <a:solidFill>
                  <a:schemeClr val="bg1">
                    <a:lumMod val="50000"/>
                  </a:schemeClr>
                </a:solidFill>
                <a:latin typeface="BISansCond" panose="02000006050000020004" pitchFamily="2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750" dirty="0">
                <a:solidFill>
                  <a:srgbClr val="FFFFFF">
                    <a:lumMod val="50000"/>
                  </a:srgbClr>
                </a:solidFill>
              </a:rPr>
              <a:t>HP Regions - 2018 Annual Discussion</a:t>
            </a:r>
            <a:endParaRPr lang="en-GB" sz="750" dirty="0">
              <a:solidFill>
                <a:srgbClr val="FFFFFF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444896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Standard page_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/>
          <p:cNvSpPr/>
          <p:nvPr userDrawn="1"/>
        </p:nvSpPr>
        <p:spPr>
          <a:xfrm>
            <a:off x="0" y="2928495"/>
            <a:ext cx="12192000" cy="3929507"/>
          </a:xfrm>
          <a:prstGeom prst="rect">
            <a:avLst/>
          </a:prstGeom>
          <a:gradFill>
            <a:gsLst>
              <a:gs pos="0">
                <a:srgbClr val="6699CC">
                  <a:alpha val="40000"/>
                </a:srgbClr>
              </a:gs>
              <a:gs pos="100000">
                <a:srgbClr val="FFFFFF"/>
              </a:gs>
            </a:gsLst>
            <a:lin ang="162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3995" tIns="53995" rIns="53995" bIns="53995" rtlCol="0" anchor="ctr"/>
          <a:lstStyle/>
          <a:p>
            <a:pPr algn="ctr" defTabSz="685699"/>
            <a:endParaRPr lang="en-GB" sz="1050" dirty="0">
              <a:solidFill>
                <a:srgbClr val="000000"/>
              </a:solidFill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/>
        <p:txBody>
          <a:bodyPr/>
          <a:lstStyle/>
          <a:p>
            <a:pPr lvl="0"/>
            <a:r>
              <a:rPr lang="en-GB" noProof="0" dirty="0"/>
              <a:t>Click to add text</a:t>
            </a:r>
          </a:p>
        </p:txBody>
      </p:sp>
      <p:cxnSp>
        <p:nvCxnSpPr>
          <p:cNvPr id="7" name="Gerade Verbindung 6"/>
          <p:cNvCxnSpPr/>
          <p:nvPr userDrawn="1"/>
        </p:nvCxnSpPr>
        <p:spPr>
          <a:xfrm>
            <a:off x="0" y="971453"/>
            <a:ext cx="12192000" cy="0"/>
          </a:xfrm>
          <a:prstGeom prst="line">
            <a:avLst/>
          </a:prstGeom>
          <a:ln w="12700">
            <a:solidFill>
              <a:srgbClr val="0033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E07332-38B6-41B2-81EE-18FB39B43C71}" type="datetime1">
              <a:rPr lang="en-GB" smtClean="0">
                <a:solidFill>
                  <a:srgbClr val="FFFFFF">
                    <a:lumMod val="50000"/>
                  </a:srgbClr>
                </a:solidFill>
              </a:rPr>
              <a:pPr/>
              <a:t>14/12/2021</a:t>
            </a:fld>
            <a:endParaRPr lang="en-GB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>
                <a:solidFill>
                  <a:srgbClr val="FFFFFF">
                    <a:lumMod val="50000"/>
                  </a:srgbClr>
                </a:solidFill>
              </a:rPr>
              <a:t>Presentation title, date, author</a:t>
            </a:r>
            <a:endParaRPr lang="en-GB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3B55C4-4F5A-416B-997D-6CE47EB0A945}" type="slidenum">
              <a:rPr lang="en-GB" smtClean="0">
                <a:solidFill>
                  <a:srgbClr val="FFFFFF">
                    <a:lumMod val="50000"/>
                  </a:srgbClr>
                </a:solidFill>
              </a:rPr>
              <a:pPr/>
              <a:t>‹#›</a:t>
            </a:fld>
            <a:endParaRPr lang="en-GB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8" name="Titel 7"/>
          <p:cNvSpPr>
            <a:spLocks noGrp="1"/>
          </p:cNvSpPr>
          <p:nvPr>
            <p:ph type="title" hasCustomPrompt="1"/>
          </p:nvPr>
        </p:nvSpPr>
        <p:spPr>
          <a:xfrm>
            <a:off x="490100" y="187200"/>
            <a:ext cx="11211800" cy="415498"/>
          </a:xfrm>
        </p:spPr>
        <p:txBody>
          <a:bodyPr/>
          <a:lstStyle>
            <a:lvl1pPr>
              <a:defRPr sz="2700"/>
            </a:lvl1pPr>
          </a:lstStyle>
          <a:p>
            <a:r>
              <a:rPr lang="en-GB" noProof="0"/>
              <a:t>Click to add headline</a:t>
            </a:r>
          </a:p>
        </p:txBody>
      </p:sp>
      <p:pic>
        <p:nvPicPr>
          <p:cNvPr id="10" name="Grafik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5924" y="6485510"/>
            <a:ext cx="840360" cy="2540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21682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 page_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11"/>
          <p:cNvSpPr/>
          <p:nvPr userDrawn="1"/>
        </p:nvSpPr>
        <p:spPr>
          <a:xfrm>
            <a:off x="0" y="2928495"/>
            <a:ext cx="12192000" cy="3929507"/>
          </a:xfrm>
          <a:prstGeom prst="rect">
            <a:avLst/>
          </a:prstGeom>
          <a:gradFill>
            <a:gsLst>
              <a:gs pos="0">
                <a:srgbClr val="6699CC">
                  <a:alpha val="40000"/>
                </a:srgbClr>
              </a:gs>
              <a:gs pos="100000">
                <a:srgbClr val="FFFFFF"/>
              </a:gs>
            </a:gsLst>
            <a:lin ang="162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GB" sz="1050" noProof="0" dirty="0">
              <a:solidFill>
                <a:schemeClr val="tx1"/>
              </a:solidFill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altLang="zh-TW" noProof="0"/>
              <a:t>Click to edit Master text styles</a:t>
            </a:r>
          </a:p>
          <a:p>
            <a:pPr lvl="1"/>
            <a:r>
              <a:rPr lang="en-US" altLang="zh-TW" noProof="0"/>
              <a:t>Second level</a:t>
            </a:r>
          </a:p>
          <a:p>
            <a:pPr lvl="2"/>
            <a:r>
              <a:rPr lang="en-US" altLang="zh-TW" noProof="0"/>
              <a:t>Third level</a:t>
            </a:r>
          </a:p>
          <a:p>
            <a:pPr lvl="3"/>
            <a:r>
              <a:rPr lang="en-US" altLang="zh-TW" noProof="0"/>
              <a:t>Fourth level</a:t>
            </a:r>
          </a:p>
          <a:p>
            <a:pPr lvl="4"/>
            <a:r>
              <a:rPr lang="en-US" altLang="zh-TW" noProof="0"/>
              <a:t>Fifth level</a:t>
            </a:r>
            <a:endParaRPr lang="en-GB" noProof="0" dirty="0"/>
          </a:p>
        </p:txBody>
      </p:sp>
      <p:cxnSp>
        <p:nvCxnSpPr>
          <p:cNvPr id="5" name="Gerade Verbindung 4"/>
          <p:cNvCxnSpPr/>
          <p:nvPr/>
        </p:nvCxnSpPr>
        <p:spPr>
          <a:xfrm>
            <a:off x="0" y="971453"/>
            <a:ext cx="12192000" cy="0"/>
          </a:xfrm>
          <a:prstGeom prst="line">
            <a:avLst/>
          </a:prstGeom>
          <a:ln w="12700">
            <a:solidFill>
              <a:srgbClr val="0033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10"/>
          <p:cNvCxnSpPr/>
          <p:nvPr userDrawn="1"/>
        </p:nvCxnSpPr>
        <p:spPr>
          <a:xfrm>
            <a:off x="0" y="971453"/>
            <a:ext cx="12192000" cy="0"/>
          </a:xfrm>
          <a:prstGeom prst="line">
            <a:avLst/>
          </a:prstGeom>
          <a:ln w="12700">
            <a:solidFill>
              <a:srgbClr val="0033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5924" y="6578960"/>
            <a:ext cx="840360" cy="190511"/>
          </a:xfrm>
          <a:prstGeom prst="rect">
            <a:avLst/>
          </a:prstGeom>
        </p:spPr>
      </p:pic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/>
              <a:t>Click to edit Master title style</a:t>
            </a:r>
            <a:endParaRPr lang="de-DE"/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0DDFAE-3DA3-4218-ADED-A2CB89D0520B}" type="datetime1">
              <a:rPr lang="en-GB" smtClean="0"/>
              <a:t>14/12/2021</a:t>
            </a:fld>
            <a:endParaRPr lang="en-GB" dirty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3B55C4-4F5A-416B-997D-6CE47EB0A945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933601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/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774" t="21906" r="22560" b="9618"/>
          <a:stretch/>
        </p:blipFill>
        <p:spPr bwMode="auto">
          <a:xfrm>
            <a:off x="1" y="0"/>
            <a:ext cx="99568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24" name="Gerade Verbindung 23"/>
          <p:cNvCxnSpPr/>
          <p:nvPr/>
        </p:nvCxnSpPr>
        <p:spPr>
          <a:xfrm>
            <a:off x="7" y="2492389"/>
            <a:ext cx="12191999" cy="0"/>
          </a:xfrm>
          <a:prstGeom prst="line">
            <a:avLst/>
          </a:prstGeom>
          <a:ln w="12700">
            <a:solidFill>
              <a:srgbClr val="0033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490106" y="2654884"/>
            <a:ext cx="7845825" cy="738664"/>
          </a:xfrm>
        </p:spPr>
        <p:txBody>
          <a:bodyPr wrap="square" lIns="0">
            <a:spAutoFit/>
          </a:bodyPr>
          <a:lstStyle>
            <a:lvl1pPr>
              <a:defRPr sz="4800">
                <a:solidFill>
                  <a:srgbClr val="003366"/>
                </a:solidFill>
              </a:defRPr>
            </a:lvl1pPr>
          </a:lstStyle>
          <a:p>
            <a:r>
              <a:rPr lang="de-DE" noProof="0" dirty="0"/>
              <a:t>Titel durch Klicken bearbeit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490106" y="4763671"/>
            <a:ext cx="7845825" cy="369332"/>
          </a:xfrm>
        </p:spPr>
        <p:txBody>
          <a:bodyPr wrap="square">
            <a:spAutoFit/>
          </a:bodyPr>
          <a:lstStyle>
            <a:lvl1pPr marL="0" indent="0" algn="l">
              <a:buNone/>
              <a:defRPr sz="2400">
                <a:solidFill>
                  <a:srgbClr val="003366"/>
                </a:solidFill>
                <a:latin typeface="BISansCond" panose="02000006050000020004" pitchFamily="2" charset="0"/>
              </a:defRPr>
            </a:lvl1pPr>
            <a:lvl2pPr marL="4571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4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noProof="0" dirty="0"/>
              <a:t>Untertitel durch Klicken bearbeiten</a:t>
            </a:r>
          </a:p>
        </p:txBody>
      </p: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22942" y="6120399"/>
            <a:ext cx="1679601" cy="381600"/>
          </a:xfrm>
          <a:prstGeom prst="rect">
            <a:avLst/>
          </a:prstGeom>
        </p:spPr>
      </p:pic>
      <p:sp>
        <p:nvSpPr>
          <p:cNvPr id="11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724524" y="749516"/>
            <a:ext cx="3014400" cy="2260800"/>
          </a:xfrm>
          <a:prstGeom prst="ellipse">
            <a:avLst/>
          </a:prstGeom>
          <a:gradFill flip="none" rotWithShape="1">
            <a:gsLst>
              <a:gs pos="0">
                <a:srgbClr val="002142"/>
              </a:gs>
              <a:gs pos="100000">
                <a:srgbClr val="275187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>
            <a:normAutofit/>
          </a:bodyPr>
          <a:lstStyle>
            <a:lvl1pPr marL="0" indent="0" algn="ctr">
              <a:buNone/>
              <a:defRPr lang="de-DE" sz="2400" dirty="0">
                <a:solidFill>
                  <a:schemeClr val="bg1"/>
                </a:solidFill>
                <a:latin typeface="+mj-lt"/>
              </a:defRPr>
            </a:lvl1pPr>
          </a:lstStyle>
          <a:p>
            <a:pPr marL="0" lvl="0" algn="ctr"/>
            <a:r>
              <a:rPr lang="de-DE" noProof="0" dirty="0"/>
              <a:t>Infotext bearbeiten [Variable Schriftgröße]</a:t>
            </a:r>
          </a:p>
        </p:txBody>
      </p:sp>
      <p:sp>
        <p:nvSpPr>
          <p:cNvPr id="13" name="Titel 1"/>
          <p:cNvSpPr txBox="1">
            <a:spLocks/>
          </p:cNvSpPr>
          <p:nvPr userDrawn="1"/>
        </p:nvSpPr>
        <p:spPr>
          <a:xfrm>
            <a:off x="490101" y="2654884"/>
            <a:ext cx="7166475" cy="73866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4800" kern="1200">
                <a:solidFill>
                  <a:srgbClr val="003366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CH" sz="4800" dirty="0"/>
              <a:t>Titel durch Klicken bearbeiten</a:t>
            </a:r>
          </a:p>
        </p:txBody>
      </p:sp>
      <p:sp>
        <p:nvSpPr>
          <p:cNvPr id="15" name="Untertitel 2"/>
          <p:cNvSpPr txBox="1">
            <a:spLocks/>
          </p:cNvSpPr>
          <p:nvPr userDrawn="1"/>
        </p:nvSpPr>
        <p:spPr>
          <a:xfrm>
            <a:off x="490101" y="4763673"/>
            <a:ext cx="7166475" cy="36933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400"/>
              </a:spcBef>
              <a:buFont typeface="Arial" panose="020B0604020202020204" pitchFamily="34" charset="0"/>
              <a:buNone/>
              <a:defRPr sz="2400" kern="1200">
                <a:solidFill>
                  <a:srgbClr val="003366"/>
                </a:solidFill>
                <a:latin typeface="BISansCond" panose="02000006050000020004" pitchFamily="2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ts val="0"/>
              </a:spcBef>
              <a:buFont typeface="Wingdings" panose="05000000000000000000" pitchFamily="2" charset="2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2400" dirty="0"/>
              <a:t>Untertitel durch Klicken bearbeiten</a:t>
            </a:r>
          </a:p>
        </p:txBody>
      </p:sp>
      <p:cxnSp>
        <p:nvCxnSpPr>
          <p:cNvPr id="10" name="Gerade Verbindung 9"/>
          <p:cNvCxnSpPr/>
          <p:nvPr userDrawn="1"/>
        </p:nvCxnSpPr>
        <p:spPr>
          <a:xfrm>
            <a:off x="7" y="2492389"/>
            <a:ext cx="12191999" cy="0"/>
          </a:xfrm>
          <a:prstGeom prst="line">
            <a:avLst/>
          </a:prstGeom>
          <a:ln w="12700">
            <a:solidFill>
              <a:srgbClr val="0033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134106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mit Info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eck 12"/>
          <p:cNvSpPr/>
          <p:nvPr userDrawn="1"/>
        </p:nvSpPr>
        <p:spPr>
          <a:xfrm>
            <a:off x="0" y="2928493"/>
            <a:ext cx="12192000" cy="3929507"/>
          </a:xfrm>
          <a:prstGeom prst="rect">
            <a:avLst/>
          </a:prstGeom>
          <a:gradFill>
            <a:gsLst>
              <a:gs pos="0">
                <a:srgbClr val="6699CC">
                  <a:alpha val="40000"/>
                </a:srgbClr>
              </a:gs>
              <a:gs pos="100000">
                <a:srgbClr val="FFFFFF"/>
              </a:gs>
            </a:gsLst>
            <a:lin ang="162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sz="1400" dirty="0">
              <a:solidFill>
                <a:srgbClr val="000000"/>
              </a:solidFill>
            </a:endParaRPr>
          </a:p>
        </p:txBody>
      </p:sp>
      <p:pic>
        <p:nvPicPr>
          <p:cNvPr id="14" name="Picture 2"/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231" t="19013" b="13976"/>
          <a:stretch/>
        </p:blipFill>
        <p:spPr bwMode="auto">
          <a:xfrm>
            <a:off x="0" y="0"/>
            <a:ext cx="8573053" cy="685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24" name="Gerade Verbindung 23"/>
          <p:cNvCxnSpPr/>
          <p:nvPr/>
        </p:nvCxnSpPr>
        <p:spPr>
          <a:xfrm>
            <a:off x="7" y="2492389"/>
            <a:ext cx="12191999" cy="0"/>
          </a:xfrm>
          <a:prstGeom prst="line">
            <a:avLst/>
          </a:prstGeom>
          <a:ln w="12700">
            <a:solidFill>
              <a:srgbClr val="0033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490101" y="2654884"/>
            <a:ext cx="7166475" cy="738664"/>
          </a:xfrm>
        </p:spPr>
        <p:txBody>
          <a:bodyPr wrap="square">
            <a:spAutoFit/>
          </a:bodyPr>
          <a:lstStyle>
            <a:lvl1pPr>
              <a:defRPr sz="4800">
                <a:solidFill>
                  <a:srgbClr val="003366"/>
                </a:solidFill>
              </a:defRPr>
            </a:lvl1pPr>
          </a:lstStyle>
          <a:p>
            <a:r>
              <a:rPr lang="de-CH" noProof="0" dirty="0"/>
              <a:t>Titel durch Klicken bearbeit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490101" y="4763671"/>
            <a:ext cx="7166475" cy="369332"/>
          </a:xfrm>
        </p:spPr>
        <p:txBody>
          <a:bodyPr wrap="square">
            <a:spAutoFit/>
          </a:bodyPr>
          <a:lstStyle>
            <a:lvl1pPr marL="0" indent="0" algn="l">
              <a:buNone/>
              <a:defRPr sz="2400">
                <a:solidFill>
                  <a:srgbClr val="003366"/>
                </a:solidFill>
                <a:latin typeface="BISansCond" panose="02000006050000020004" pitchFamily="2" charset="0"/>
              </a:defRPr>
            </a:lvl1pPr>
            <a:lvl2pPr marL="4571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4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noProof="0" dirty="0"/>
              <a:t>Untertitel durch Klicken bearbeiten</a:t>
            </a:r>
          </a:p>
        </p:txBody>
      </p:sp>
      <p:cxnSp>
        <p:nvCxnSpPr>
          <p:cNvPr id="11" name="Gerade Verbindung 10"/>
          <p:cNvCxnSpPr/>
          <p:nvPr userDrawn="1"/>
        </p:nvCxnSpPr>
        <p:spPr>
          <a:xfrm>
            <a:off x="7" y="2492389"/>
            <a:ext cx="12191999" cy="0"/>
          </a:xfrm>
          <a:prstGeom prst="line">
            <a:avLst/>
          </a:prstGeom>
          <a:ln w="12700">
            <a:solidFill>
              <a:srgbClr val="0033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724524" y="749516"/>
            <a:ext cx="3014400" cy="2260800"/>
          </a:xfrm>
          <a:prstGeom prst="ellipse">
            <a:avLst/>
          </a:prstGeom>
          <a:gradFill flip="none" rotWithShape="1">
            <a:gsLst>
              <a:gs pos="0">
                <a:srgbClr val="002142"/>
              </a:gs>
              <a:gs pos="100000">
                <a:srgbClr val="275187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>
            <a:normAutofit/>
          </a:bodyPr>
          <a:lstStyle>
            <a:lvl1pPr marL="0" indent="0" algn="ctr">
              <a:buNone/>
              <a:defRPr lang="de-DE" sz="2400" dirty="0">
                <a:solidFill>
                  <a:schemeClr val="bg1"/>
                </a:solidFill>
                <a:latin typeface="+mj-lt"/>
              </a:defRPr>
            </a:lvl1pPr>
          </a:lstStyle>
          <a:p>
            <a:pPr marL="0" lvl="0" algn="ctr"/>
            <a:r>
              <a:rPr lang="de-DE" noProof="0" dirty="0"/>
              <a:t>Infotext bearbeiten [Variable Schriftgröße]</a:t>
            </a:r>
          </a:p>
        </p:txBody>
      </p: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22942" y="6120399"/>
            <a:ext cx="1679601" cy="381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9170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eck 12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rgbClr val="89C0FF"/>
              </a:gs>
              <a:gs pos="100000">
                <a:srgbClr val="5486C1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dirty="0">
              <a:solidFill>
                <a:srgbClr val="FFFFFF"/>
              </a:solidFill>
            </a:endParaRPr>
          </a:p>
        </p:txBody>
      </p:sp>
      <p:cxnSp>
        <p:nvCxnSpPr>
          <p:cNvPr id="17" name="Gerade Verbindung 16"/>
          <p:cNvCxnSpPr/>
          <p:nvPr/>
        </p:nvCxnSpPr>
        <p:spPr>
          <a:xfrm>
            <a:off x="0" y="2492389"/>
            <a:ext cx="12192000" cy="0"/>
          </a:xfrm>
          <a:prstGeom prst="line">
            <a:avLst/>
          </a:prstGeom>
          <a:ln w="1270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Textplatzhalter 18"/>
          <p:cNvSpPr>
            <a:spLocks noGrp="1"/>
          </p:cNvSpPr>
          <p:nvPr>
            <p:ph type="body" sz="quarter" idx="11" hasCustomPrompt="1"/>
          </p:nvPr>
        </p:nvSpPr>
        <p:spPr>
          <a:xfrm>
            <a:off x="469104" y="2640131"/>
            <a:ext cx="8909357" cy="738664"/>
          </a:xfrm>
        </p:spPr>
        <p:txBody>
          <a:bodyPr wrap="square">
            <a:spAutoFit/>
          </a:bodyPr>
          <a:lstStyle>
            <a:lvl1pPr marL="0" indent="0">
              <a:buNone/>
              <a:defRPr sz="4800">
                <a:solidFill>
                  <a:schemeClr val="bg1"/>
                </a:solidFill>
                <a:latin typeface="BISansCond" panose="02000006050000020004" pitchFamily="2" charset="0"/>
              </a:defRPr>
            </a:lvl1pPr>
          </a:lstStyle>
          <a:p>
            <a:pPr lvl="0"/>
            <a:r>
              <a:rPr lang="en-GB" noProof="0" dirty="0" err="1"/>
              <a:t>Kapitel-Titel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  <p:sp>
        <p:nvSpPr>
          <p:cNvPr id="20" name="Textplatzhalt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469105" y="3718150"/>
            <a:ext cx="5412315" cy="369332"/>
          </a:xfrm>
        </p:spPr>
        <p:txBody>
          <a:bodyPr wrap="square">
            <a:spAutoFit/>
          </a:bodyPr>
          <a:lstStyle>
            <a:lvl1pPr marL="0" indent="0">
              <a:buNone/>
              <a:defRPr sz="2400" baseline="0">
                <a:solidFill>
                  <a:schemeClr val="bg1"/>
                </a:solidFill>
                <a:latin typeface="BISansCond" panose="02000006050000020004" pitchFamily="2" charset="0"/>
              </a:defRPr>
            </a:lvl1pPr>
          </a:lstStyle>
          <a:p>
            <a:pPr lvl="0"/>
            <a:r>
              <a:rPr lang="en-GB" noProof="0" dirty="0" err="1"/>
              <a:t>Optionalen</a:t>
            </a:r>
            <a:r>
              <a:rPr lang="en-GB" noProof="0" dirty="0"/>
              <a:t> </a:t>
            </a:r>
            <a:r>
              <a:rPr lang="en-GB" noProof="0" dirty="0" err="1"/>
              <a:t>Untertitel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  <p:cxnSp>
        <p:nvCxnSpPr>
          <p:cNvPr id="10" name="Gerade Verbindung 9"/>
          <p:cNvCxnSpPr/>
          <p:nvPr userDrawn="1"/>
        </p:nvCxnSpPr>
        <p:spPr>
          <a:xfrm>
            <a:off x="0" y="2492389"/>
            <a:ext cx="12192000" cy="0"/>
          </a:xfrm>
          <a:prstGeom prst="line">
            <a:avLst/>
          </a:prstGeom>
          <a:ln w="1270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26265" y="6120399"/>
            <a:ext cx="1679601" cy="381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11264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ive 1: Standard-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22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16" imgH="216" progId="TCLayout.ActiveDocument.1">
                  <p:embed/>
                </p:oleObj>
              </mc:Choice>
              <mc:Fallback>
                <p:oleObj name="think-cell Slide" r:id="rId3" imgW="216" imgH="216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22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/>
          <p:cNvSpPr/>
          <p:nvPr userDrawn="1"/>
        </p:nvSpPr>
        <p:spPr>
          <a:xfrm>
            <a:off x="0" y="2928493"/>
            <a:ext cx="12192000" cy="3929507"/>
          </a:xfrm>
          <a:prstGeom prst="rect">
            <a:avLst/>
          </a:prstGeom>
          <a:gradFill>
            <a:gsLst>
              <a:gs pos="0">
                <a:srgbClr val="6699CC">
                  <a:alpha val="40000"/>
                </a:srgbClr>
              </a:gs>
              <a:gs pos="100000">
                <a:srgbClr val="FFFFFF"/>
              </a:gs>
            </a:gsLst>
            <a:lin ang="162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sz="1400" dirty="0">
              <a:solidFill>
                <a:srgbClr val="000000"/>
              </a:solidFill>
            </a:endParaRPr>
          </a:p>
        </p:txBody>
      </p:sp>
      <p:cxnSp>
        <p:nvCxnSpPr>
          <p:cNvPr id="5" name="Gerade Verbindung 4"/>
          <p:cNvCxnSpPr/>
          <p:nvPr userDrawn="1"/>
        </p:nvCxnSpPr>
        <p:spPr>
          <a:xfrm>
            <a:off x="0" y="971453"/>
            <a:ext cx="12192000" cy="0"/>
          </a:xfrm>
          <a:prstGeom prst="line">
            <a:avLst/>
          </a:prstGeom>
          <a:ln w="12700">
            <a:solidFill>
              <a:srgbClr val="0033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0" name="Datumsplatzhalter 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D8EF81-457D-4290-80C5-23526034FF6B}" type="datetime1">
              <a:rPr lang="en-GB" smtClean="0">
                <a:solidFill>
                  <a:srgbClr val="FFFFFF">
                    <a:lumMod val="50000"/>
                  </a:srgbClr>
                </a:solidFill>
              </a:rPr>
              <a:pPr/>
              <a:t>14/12/2021</a:t>
            </a:fld>
            <a:endParaRPr lang="en-GB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rgbClr val="FFFFFF">
                    <a:lumMod val="50000"/>
                  </a:srgbClr>
                </a:solidFill>
              </a:rPr>
              <a:t>HP Regions - 2017 Annual Discussion</a:t>
            </a:r>
            <a:endParaRPr lang="en-GB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3B55C4-4F5A-416B-997D-6CE47EB0A945}" type="slidenum">
              <a:rPr lang="en-GB" smtClean="0">
                <a:solidFill>
                  <a:srgbClr val="FFFFFF">
                    <a:lumMod val="50000"/>
                  </a:srgbClr>
                </a:solidFill>
              </a:rPr>
              <a:pPr/>
              <a:t>‹#›</a:t>
            </a:fld>
            <a:endParaRPr lang="en-GB" dirty="0">
              <a:solidFill>
                <a:srgbClr val="FFFFFF">
                  <a:lumMod val="50000"/>
                </a:srgbClr>
              </a:solidFill>
            </a:endParaRPr>
          </a:p>
        </p:txBody>
      </p:sp>
      <p:pic>
        <p:nvPicPr>
          <p:cNvPr id="13" name="Grafik 12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5924" y="6578961"/>
            <a:ext cx="840360" cy="1905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00920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ive 3: Standard Foli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22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16" imgH="216" progId="TCLayout.ActiveDocument.1">
                  <p:embed/>
                </p:oleObj>
              </mc:Choice>
              <mc:Fallback>
                <p:oleObj name="think-cell Slide" r:id="rId3" imgW="216" imgH="216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22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hteck 11"/>
          <p:cNvSpPr/>
          <p:nvPr userDrawn="1"/>
        </p:nvSpPr>
        <p:spPr>
          <a:xfrm>
            <a:off x="0" y="2928493"/>
            <a:ext cx="12192000" cy="3929507"/>
          </a:xfrm>
          <a:prstGeom prst="rect">
            <a:avLst/>
          </a:prstGeom>
          <a:gradFill>
            <a:gsLst>
              <a:gs pos="0">
                <a:srgbClr val="6699CC">
                  <a:alpha val="40000"/>
                </a:srgbClr>
              </a:gs>
              <a:gs pos="100000">
                <a:srgbClr val="FFFFFF"/>
              </a:gs>
            </a:gsLst>
            <a:lin ang="162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sz="1400" dirty="0">
              <a:solidFill>
                <a:srgbClr val="000000"/>
              </a:solidFill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en-GB" noProof="0" dirty="0"/>
          </a:p>
        </p:txBody>
      </p:sp>
      <p:cxnSp>
        <p:nvCxnSpPr>
          <p:cNvPr id="5" name="Gerade Verbindung 4"/>
          <p:cNvCxnSpPr/>
          <p:nvPr/>
        </p:nvCxnSpPr>
        <p:spPr>
          <a:xfrm>
            <a:off x="0" y="971453"/>
            <a:ext cx="12192000" cy="0"/>
          </a:xfrm>
          <a:prstGeom prst="line">
            <a:avLst/>
          </a:prstGeom>
          <a:ln w="12700">
            <a:solidFill>
              <a:srgbClr val="0033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10"/>
          <p:cNvCxnSpPr/>
          <p:nvPr userDrawn="1"/>
        </p:nvCxnSpPr>
        <p:spPr>
          <a:xfrm>
            <a:off x="0" y="971453"/>
            <a:ext cx="12192000" cy="0"/>
          </a:xfrm>
          <a:prstGeom prst="line">
            <a:avLst/>
          </a:prstGeom>
          <a:ln w="12700">
            <a:solidFill>
              <a:srgbClr val="0033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AE2C56-5F16-4DE5-A4DF-EBE640CAA51B}" type="datetime1">
              <a:rPr lang="en-GB" smtClean="0">
                <a:solidFill>
                  <a:srgbClr val="FFFFFF">
                    <a:lumMod val="50000"/>
                  </a:srgbClr>
                </a:solidFill>
              </a:rPr>
              <a:pPr/>
              <a:t>14/12/2021</a:t>
            </a:fld>
            <a:endParaRPr lang="en-GB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3B55C4-4F5A-416B-997D-6CE47EB0A945}" type="slidenum">
              <a:rPr lang="en-GB" smtClean="0">
                <a:solidFill>
                  <a:srgbClr val="FFFFFF">
                    <a:lumMod val="50000"/>
                  </a:srgbClr>
                </a:solidFill>
              </a:rPr>
              <a:pPr/>
              <a:t>‹#›</a:t>
            </a:fld>
            <a:endParaRPr lang="en-GB" dirty="0">
              <a:solidFill>
                <a:srgbClr val="FFFFFF">
                  <a:lumMod val="50000"/>
                </a:srgbClr>
              </a:solidFill>
            </a:endParaRPr>
          </a:p>
        </p:txBody>
      </p:sp>
      <p:pic>
        <p:nvPicPr>
          <p:cNvPr id="14" name="Grafik 13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5924" y="6578961"/>
            <a:ext cx="840360" cy="190511"/>
          </a:xfrm>
          <a:prstGeom prst="rect">
            <a:avLst/>
          </a:prstGeom>
        </p:spPr>
      </p:pic>
      <p:sp>
        <p:nvSpPr>
          <p:cNvPr id="13" name="Fußzeilenplatzhalter 5"/>
          <p:cNvSpPr txBox="1">
            <a:spLocks/>
          </p:cNvSpPr>
          <p:nvPr userDrawn="1"/>
        </p:nvSpPr>
        <p:spPr>
          <a:xfrm>
            <a:off x="1957621" y="6583611"/>
            <a:ext cx="8186291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000" kern="1200">
                <a:solidFill>
                  <a:schemeClr val="bg1">
                    <a:lumMod val="50000"/>
                  </a:schemeClr>
                </a:solidFill>
                <a:latin typeface="BISansCond" panose="02000006050000020004" pitchFamily="2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dirty="0">
                <a:solidFill>
                  <a:srgbClr val="FFFFFF">
                    <a:lumMod val="50000"/>
                  </a:srgbClr>
                </a:solidFill>
              </a:rPr>
              <a:t>HP Regions - 2018 Annual Discussion</a:t>
            </a:r>
            <a:endParaRPr lang="en-GB" sz="1000" dirty="0">
              <a:solidFill>
                <a:srgbClr val="FFFFFF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018999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page_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11"/>
          <p:cNvSpPr/>
          <p:nvPr userDrawn="1"/>
        </p:nvSpPr>
        <p:spPr>
          <a:xfrm>
            <a:off x="0" y="2928494"/>
            <a:ext cx="12192000" cy="3929507"/>
          </a:xfrm>
          <a:prstGeom prst="rect">
            <a:avLst/>
          </a:prstGeom>
          <a:gradFill>
            <a:gsLst>
              <a:gs pos="0">
                <a:srgbClr val="6699CC">
                  <a:alpha val="40000"/>
                </a:srgbClr>
              </a:gs>
              <a:gs pos="100000">
                <a:srgbClr val="FFFFFF"/>
              </a:gs>
            </a:gsLst>
            <a:lin ang="162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sz="1400" dirty="0">
              <a:solidFill>
                <a:prstClr val="black"/>
              </a:solidFill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altLang="zh-TW" noProof="0"/>
              <a:t>Click to edit Master text styles</a:t>
            </a:r>
          </a:p>
          <a:p>
            <a:pPr lvl="1"/>
            <a:r>
              <a:rPr lang="en-US" altLang="zh-TW" noProof="0"/>
              <a:t>Second level</a:t>
            </a:r>
          </a:p>
          <a:p>
            <a:pPr lvl="2"/>
            <a:r>
              <a:rPr lang="en-US" altLang="zh-TW" noProof="0"/>
              <a:t>Third level</a:t>
            </a:r>
          </a:p>
          <a:p>
            <a:pPr lvl="3"/>
            <a:r>
              <a:rPr lang="en-US" altLang="zh-TW" noProof="0"/>
              <a:t>Fourth level</a:t>
            </a:r>
          </a:p>
          <a:p>
            <a:pPr lvl="4"/>
            <a:r>
              <a:rPr lang="en-US" altLang="zh-TW" noProof="0"/>
              <a:t>Fifth level</a:t>
            </a:r>
            <a:endParaRPr lang="en-GB" noProof="0" dirty="0"/>
          </a:p>
        </p:txBody>
      </p:sp>
      <p:cxnSp>
        <p:nvCxnSpPr>
          <p:cNvPr id="5" name="Gerade Verbindung 4"/>
          <p:cNvCxnSpPr/>
          <p:nvPr/>
        </p:nvCxnSpPr>
        <p:spPr>
          <a:xfrm>
            <a:off x="0" y="971453"/>
            <a:ext cx="12192000" cy="0"/>
          </a:xfrm>
          <a:prstGeom prst="line">
            <a:avLst/>
          </a:prstGeom>
          <a:ln w="12700">
            <a:solidFill>
              <a:srgbClr val="0033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10"/>
          <p:cNvCxnSpPr/>
          <p:nvPr userDrawn="1"/>
        </p:nvCxnSpPr>
        <p:spPr>
          <a:xfrm>
            <a:off x="0" y="971453"/>
            <a:ext cx="12192000" cy="0"/>
          </a:xfrm>
          <a:prstGeom prst="line">
            <a:avLst/>
          </a:prstGeom>
          <a:ln w="12700">
            <a:solidFill>
              <a:srgbClr val="0033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5924" y="6578958"/>
            <a:ext cx="840360" cy="190510"/>
          </a:xfrm>
          <a:prstGeom prst="rect">
            <a:avLst/>
          </a:prstGeom>
        </p:spPr>
      </p:pic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0DDFAE-3DA3-4218-ADED-A2CB89D0520B}" type="datetime1">
              <a:rPr lang="en-GB" smtClean="0">
                <a:solidFill>
                  <a:prstClr val="white">
                    <a:lumMod val="50000"/>
                  </a:prstClr>
                </a:solidFill>
              </a:rPr>
              <a:pPr/>
              <a:t>14/12/2021</a:t>
            </a:fld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3B55C4-4F5A-416B-997D-6CE47EB0A945}" type="slidenum">
              <a:rPr lang="en-GB" smtClean="0">
                <a:solidFill>
                  <a:prstClr val="white">
                    <a:lumMod val="50000"/>
                  </a:prstClr>
                </a:solidFill>
              </a:rPr>
              <a:pPr/>
              <a:t>‹#›</a:t>
            </a:fld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4" name="Titel 13"/>
          <p:cNvSpPr>
            <a:spLocks noGrp="1"/>
          </p:cNvSpPr>
          <p:nvPr>
            <p:ph type="title"/>
          </p:nvPr>
        </p:nvSpPr>
        <p:spPr>
          <a:xfrm>
            <a:off x="490100" y="153349"/>
            <a:ext cx="11211800" cy="553998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 altLang="zh-TW"/>
              <a:t>Click to edit Master title sty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838903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Standard page_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/>
          <p:cNvSpPr/>
          <p:nvPr userDrawn="1"/>
        </p:nvSpPr>
        <p:spPr>
          <a:xfrm>
            <a:off x="0" y="2928493"/>
            <a:ext cx="12192000" cy="3929507"/>
          </a:xfrm>
          <a:prstGeom prst="rect">
            <a:avLst/>
          </a:prstGeom>
          <a:gradFill>
            <a:gsLst>
              <a:gs pos="0">
                <a:srgbClr val="6699CC">
                  <a:alpha val="40000"/>
                </a:srgbClr>
              </a:gs>
              <a:gs pos="100000">
                <a:srgbClr val="FFFFFF"/>
              </a:gs>
            </a:gsLst>
            <a:lin ang="162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93" tIns="71993" rIns="71993" bIns="71993" rtlCol="0" anchor="ctr"/>
          <a:lstStyle/>
          <a:p>
            <a:pPr algn="ctr" defTabSz="914242"/>
            <a:endParaRPr lang="en-GB" sz="1400" dirty="0">
              <a:solidFill>
                <a:srgbClr val="000000"/>
              </a:solidFill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/>
        <p:txBody>
          <a:bodyPr/>
          <a:lstStyle/>
          <a:p>
            <a:pPr lvl="0"/>
            <a:r>
              <a:rPr lang="en-GB" noProof="0" dirty="0"/>
              <a:t>Click to add text</a:t>
            </a:r>
          </a:p>
        </p:txBody>
      </p:sp>
      <p:cxnSp>
        <p:nvCxnSpPr>
          <p:cNvPr id="7" name="Gerade Verbindung 6"/>
          <p:cNvCxnSpPr/>
          <p:nvPr userDrawn="1"/>
        </p:nvCxnSpPr>
        <p:spPr>
          <a:xfrm>
            <a:off x="0" y="971453"/>
            <a:ext cx="12192000" cy="0"/>
          </a:xfrm>
          <a:prstGeom prst="line">
            <a:avLst/>
          </a:prstGeom>
          <a:ln w="12700">
            <a:solidFill>
              <a:srgbClr val="0033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E07332-38B6-41B2-81EE-18FB39B43C71}" type="datetime1">
              <a:rPr lang="en-GB" smtClean="0">
                <a:solidFill>
                  <a:srgbClr val="FFFFFF">
                    <a:lumMod val="50000"/>
                  </a:srgbClr>
                </a:solidFill>
              </a:rPr>
              <a:pPr/>
              <a:t>14/12/2021</a:t>
            </a:fld>
            <a:endParaRPr lang="en-GB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>
                <a:solidFill>
                  <a:srgbClr val="FFFFFF">
                    <a:lumMod val="50000"/>
                  </a:srgbClr>
                </a:solidFill>
              </a:rPr>
              <a:t>Presentation title, date, author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3B55C4-4F5A-416B-997D-6CE47EB0A945}" type="slidenum">
              <a:rPr lang="en-GB" smtClean="0">
                <a:solidFill>
                  <a:srgbClr val="FFFFFF">
                    <a:lumMod val="50000"/>
                  </a:srgbClr>
                </a:solidFill>
              </a:rPr>
              <a:pPr/>
              <a:t>‹#›</a:t>
            </a:fld>
            <a:endParaRPr lang="en-GB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8" name="Titel 7"/>
          <p:cNvSpPr>
            <a:spLocks noGrp="1"/>
          </p:cNvSpPr>
          <p:nvPr>
            <p:ph type="title" hasCustomPrompt="1"/>
          </p:nvPr>
        </p:nvSpPr>
        <p:spPr>
          <a:xfrm>
            <a:off x="490100" y="187200"/>
            <a:ext cx="11211800" cy="553999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 noProof="0"/>
              <a:t>Click to add headline</a:t>
            </a:r>
          </a:p>
        </p:txBody>
      </p:sp>
      <p:pic>
        <p:nvPicPr>
          <p:cNvPr id="10" name="Grafik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5924" y="6485508"/>
            <a:ext cx="840360" cy="2540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00566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 page_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11"/>
          <p:cNvSpPr/>
          <p:nvPr userDrawn="1"/>
        </p:nvSpPr>
        <p:spPr>
          <a:xfrm>
            <a:off x="0" y="2928493"/>
            <a:ext cx="12192000" cy="3929507"/>
          </a:xfrm>
          <a:prstGeom prst="rect">
            <a:avLst/>
          </a:prstGeom>
          <a:gradFill>
            <a:gsLst>
              <a:gs pos="0">
                <a:srgbClr val="6699CC">
                  <a:alpha val="40000"/>
                </a:srgbClr>
              </a:gs>
              <a:gs pos="100000">
                <a:srgbClr val="FFFFFF"/>
              </a:gs>
            </a:gsLst>
            <a:lin ang="162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sz="1400" noProof="0" dirty="0">
              <a:solidFill>
                <a:schemeClr val="tx1"/>
              </a:solidFill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altLang="zh-TW" noProof="0"/>
              <a:t>Click to edit Master text styles</a:t>
            </a:r>
          </a:p>
          <a:p>
            <a:pPr lvl="1"/>
            <a:r>
              <a:rPr lang="en-US" altLang="zh-TW" noProof="0"/>
              <a:t>Second level</a:t>
            </a:r>
          </a:p>
          <a:p>
            <a:pPr lvl="2"/>
            <a:r>
              <a:rPr lang="en-US" altLang="zh-TW" noProof="0"/>
              <a:t>Third level</a:t>
            </a:r>
          </a:p>
          <a:p>
            <a:pPr lvl="3"/>
            <a:r>
              <a:rPr lang="en-US" altLang="zh-TW" noProof="0"/>
              <a:t>Fourth level</a:t>
            </a:r>
          </a:p>
          <a:p>
            <a:pPr lvl="4"/>
            <a:r>
              <a:rPr lang="en-US" altLang="zh-TW" noProof="0"/>
              <a:t>Fifth level</a:t>
            </a:r>
            <a:endParaRPr lang="en-GB" noProof="0" dirty="0"/>
          </a:p>
        </p:txBody>
      </p:sp>
      <p:cxnSp>
        <p:nvCxnSpPr>
          <p:cNvPr id="5" name="Gerade Verbindung 4"/>
          <p:cNvCxnSpPr/>
          <p:nvPr/>
        </p:nvCxnSpPr>
        <p:spPr>
          <a:xfrm>
            <a:off x="0" y="971453"/>
            <a:ext cx="12192000" cy="0"/>
          </a:xfrm>
          <a:prstGeom prst="line">
            <a:avLst/>
          </a:prstGeom>
          <a:ln w="12700">
            <a:solidFill>
              <a:srgbClr val="0033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10"/>
          <p:cNvCxnSpPr/>
          <p:nvPr userDrawn="1"/>
        </p:nvCxnSpPr>
        <p:spPr>
          <a:xfrm>
            <a:off x="0" y="971453"/>
            <a:ext cx="12192000" cy="0"/>
          </a:xfrm>
          <a:prstGeom prst="line">
            <a:avLst/>
          </a:prstGeom>
          <a:ln w="12700">
            <a:solidFill>
              <a:srgbClr val="0033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5924" y="6578959"/>
            <a:ext cx="840360" cy="190511"/>
          </a:xfrm>
          <a:prstGeom prst="rect">
            <a:avLst/>
          </a:prstGeom>
        </p:spPr>
      </p:pic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/>
              <a:t>Click to edit Master title style</a:t>
            </a:r>
            <a:endParaRPr lang="de-DE"/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0DDFAE-3DA3-4218-ADED-A2CB89D0520B}" type="datetime1">
              <a:rPr lang="en-GB" smtClean="0"/>
              <a:t>14/12/2021</a:t>
            </a:fld>
            <a:endParaRPr lang="en-GB" dirty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3B55C4-4F5A-416B-997D-6CE47EB0A945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152014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page_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11"/>
          <p:cNvSpPr/>
          <p:nvPr userDrawn="1"/>
        </p:nvSpPr>
        <p:spPr>
          <a:xfrm>
            <a:off x="0" y="2928494"/>
            <a:ext cx="12192000" cy="3929507"/>
          </a:xfrm>
          <a:prstGeom prst="rect">
            <a:avLst/>
          </a:prstGeom>
          <a:gradFill>
            <a:gsLst>
              <a:gs pos="0">
                <a:srgbClr val="6699CC">
                  <a:alpha val="40000"/>
                </a:srgbClr>
              </a:gs>
              <a:gs pos="100000">
                <a:srgbClr val="FFFFFF"/>
              </a:gs>
            </a:gsLst>
            <a:lin ang="162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sz="1400" dirty="0">
              <a:solidFill>
                <a:prstClr val="black"/>
              </a:solidFill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altLang="zh-TW" noProof="0"/>
              <a:t>Click to edit Master text styles</a:t>
            </a:r>
          </a:p>
          <a:p>
            <a:pPr lvl="1"/>
            <a:r>
              <a:rPr lang="en-US" altLang="zh-TW" noProof="0"/>
              <a:t>Second level</a:t>
            </a:r>
          </a:p>
          <a:p>
            <a:pPr lvl="2"/>
            <a:r>
              <a:rPr lang="en-US" altLang="zh-TW" noProof="0"/>
              <a:t>Third level</a:t>
            </a:r>
          </a:p>
          <a:p>
            <a:pPr lvl="3"/>
            <a:r>
              <a:rPr lang="en-US" altLang="zh-TW" noProof="0"/>
              <a:t>Fourth level</a:t>
            </a:r>
          </a:p>
          <a:p>
            <a:pPr lvl="4"/>
            <a:r>
              <a:rPr lang="en-US" altLang="zh-TW" noProof="0"/>
              <a:t>Fifth level</a:t>
            </a:r>
            <a:endParaRPr lang="en-GB" noProof="0" dirty="0"/>
          </a:p>
        </p:txBody>
      </p:sp>
      <p:cxnSp>
        <p:nvCxnSpPr>
          <p:cNvPr id="5" name="Gerade Verbindung 4"/>
          <p:cNvCxnSpPr/>
          <p:nvPr/>
        </p:nvCxnSpPr>
        <p:spPr>
          <a:xfrm>
            <a:off x="0" y="971453"/>
            <a:ext cx="12192000" cy="0"/>
          </a:xfrm>
          <a:prstGeom prst="line">
            <a:avLst/>
          </a:prstGeom>
          <a:ln w="12700">
            <a:solidFill>
              <a:srgbClr val="0033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10"/>
          <p:cNvCxnSpPr/>
          <p:nvPr userDrawn="1"/>
        </p:nvCxnSpPr>
        <p:spPr>
          <a:xfrm>
            <a:off x="0" y="971453"/>
            <a:ext cx="12192000" cy="0"/>
          </a:xfrm>
          <a:prstGeom prst="line">
            <a:avLst/>
          </a:prstGeom>
          <a:ln w="12700">
            <a:solidFill>
              <a:srgbClr val="0033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5924" y="6578958"/>
            <a:ext cx="840360" cy="190510"/>
          </a:xfrm>
          <a:prstGeom prst="rect">
            <a:avLst/>
          </a:prstGeom>
        </p:spPr>
      </p:pic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/>
              <a:t>Click to edit Master title style</a:t>
            </a:r>
            <a:endParaRPr lang="de-DE"/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0DDFAE-3DA3-4218-ADED-A2CB89D0520B}" type="datetime1">
              <a:rPr lang="en-GB" smtClean="0">
                <a:solidFill>
                  <a:prstClr val="white">
                    <a:lumMod val="50000"/>
                  </a:prstClr>
                </a:solidFill>
              </a:rPr>
              <a:pPr/>
              <a:t>14/12/2021</a:t>
            </a:fld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3B55C4-4F5A-416B-997D-6CE47EB0A945}" type="slidenum">
              <a:rPr lang="en-GB" smtClean="0">
                <a:solidFill>
                  <a:prstClr val="white">
                    <a:lumMod val="50000"/>
                  </a:prstClr>
                </a:solidFill>
              </a:rPr>
              <a:pPr/>
              <a:t>‹#›</a:t>
            </a:fld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544384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page_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11"/>
          <p:cNvSpPr/>
          <p:nvPr userDrawn="1"/>
        </p:nvSpPr>
        <p:spPr>
          <a:xfrm>
            <a:off x="0" y="2928494"/>
            <a:ext cx="12192000" cy="3929507"/>
          </a:xfrm>
          <a:prstGeom prst="rect">
            <a:avLst/>
          </a:prstGeom>
          <a:gradFill>
            <a:gsLst>
              <a:gs pos="0">
                <a:srgbClr val="6699CC">
                  <a:alpha val="40000"/>
                </a:srgbClr>
              </a:gs>
              <a:gs pos="100000">
                <a:srgbClr val="FFFFFF"/>
              </a:gs>
            </a:gsLst>
            <a:lin ang="162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sz="1400" dirty="0">
              <a:solidFill>
                <a:prstClr val="black"/>
              </a:solidFill>
            </a:endParaRPr>
          </a:p>
        </p:txBody>
      </p:sp>
      <p:cxnSp>
        <p:nvCxnSpPr>
          <p:cNvPr id="5" name="Gerade Verbindung 4"/>
          <p:cNvCxnSpPr/>
          <p:nvPr/>
        </p:nvCxnSpPr>
        <p:spPr>
          <a:xfrm>
            <a:off x="0" y="971453"/>
            <a:ext cx="12192000" cy="0"/>
          </a:xfrm>
          <a:prstGeom prst="line">
            <a:avLst/>
          </a:prstGeom>
          <a:ln w="12700">
            <a:solidFill>
              <a:srgbClr val="0033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10"/>
          <p:cNvCxnSpPr/>
          <p:nvPr userDrawn="1"/>
        </p:nvCxnSpPr>
        <p:spPr>
          <a:xfrm>
            <a:off x="0" y="971453"/>
            <a:ext cx="12192000" cy="0"/>
          </a:xfrm>
          <a:prstGeom prst="line">
            <a:avLst/>
          </a:prstGeom>
          <a:ln w="12700">
            <a:solidFill>
              <a:srgbClr val="0033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Inhaltsplatzhalter 2"/>
          <p:cNvSpPr>
            <a:spLocks noGrp="1"/>
          </p:cNvSpPr>
          <p:nvPr>
            <p:ph idx="1"/>
          </p:nvPr>
        </p:nvSpPr>
        <p:spPr>
          <a:xfrm>
            <a:off x="2362098" y="1600202"/>
            <a:ext cx="7488001" cy="4525963"/>
          </a:xfrm>
        </p:spPr>
        <p:txBody>
          <a:bodyPr/>
          <a:lstStyle>
            <a:lvl1pPr marL="0" indent="0">
              <a:spcBef>
                <a:spcPts val="600"/>
              </a:spcBef>
              <a:buNone/>
              <a:defRPr/>
            </a:lvl1pPr>
            <a:lvl2pPr marL="182563" indent="-182563">
              <a:spcBef>
                <a:spcPts val="600"/>
              </a:spcBef>
              <a:buFont typeface="BISans" panose="02000503040000020004" pitchFamily="2" charset="0"/>
              <a:buChar char="•"/>
              <a:defRPr/>
            </a:lvl2pPr>
            <a:lvl3pPr marL="358775" indent="-176213">
              <a:buFont typeface="Arial" panose="020B0604020202020204" pitchFamily="34" charset="0"/>
              <a:buChar char="–"/>
              <a:defRPr/>
            </a:lvl3pPr>
          </a:lstStyle>
          <a:p>
            <a:pPr lvl="0"/>
            <a:r>
              <a:rPr lang="en-US" altLang="zh-TW" noProof="0"/>
              <a:t>Click to edit Master text styles</a:t>
            </a:r>
          </a:p>
          <a:p>
            <a:pPr lvl="1"/>
            <a:r>
              <a:rPr lang="en-US" altLang="zh-TW" noProof="0"/>
              <a:t>Second level</a:t>
            </a:r>
          </a:p>
          <a:p>
            <a:pPr lvl="2"/>
            <a:r>
              <a:rPr lang="en-US" altLang="zh-TW" noProof="0"/>
              <a:t>Third level</a:t>
            </a:r>
          </a:p>
        </p:txBody>
      </p: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5924" y="6578958"/>
            <a:ext cx="840360" cy="190510"/>
          </a:xfrm>
          <a:prstGeom prst="rect">
            <a:avLst/>
          </a:prstGeom>
        </p:spPr>
      </p:pic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96B648-F09C-46E0-BD0F-02867C1BCA59}" type="datetime1">
              <a:rPr lang="en-GB" smtClean="0">
                <a:solidFill>
                  <a:prstClr val="white">
                    <a:lumMod val="50000"/>
                  </a:prstClr>
                </a:solidFill>
              </a:rPr>
              <a:pPr/>
              <a:t>14/12/2021</a:t>
            </a:fld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3B55C4-4F5A-416B-997D-6CE47EB0A945}" type="slidenum">
              <a:rPr lang="en-GB" smtClean="0">
                <a:solidFill>
                  <a:prstClr val="white">
                    <a:lumMod val="50000"/>
                  </a:prstClr>
                </a:solidFill>
              </a:rPr>
              <a:pPr/>
              <a:t>‹#›</a:t>
            </a:fld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/>
              <a:t>Click to edit Master title styl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42559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gram slide_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hteck 13"/>
          <p:cNvSpPr/>
          <p:nvPr userDrawn="1"/>
        </p:nvSpPr>
        <p:spPr>
          <a:xfrm>
            <a:off x="0" y="2928494"/>
            <a:ext cx="12192000" cy="3929507"/>
          </a:xfrm>
          <a:prstGeom prst="rect">
            <a:avLst/>
          </a:prstGeom>
          <a:gradFill>
            <a:gsLst>
              <a:gs pos="0">
                <a:srgbClr val="6699CC">
                  <a:alpha val="40000"/>
                </a:srgbClr>
              </a:gs>
              <a:gs pos="100000">
                <a:srgbClr val="FFFFFF"/>
              </a:gs>
            </a:gsLst>
            <a:lin ang="162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sz="1400" dirty="0">
              <a:solidFill>
                <a:prstClr val="black"/>
              </a:solidFill>
            </a:endParaRPr>
          </a:p>
        </p:txBody>
      </p:sp>
      <p:sp>
        <p:nvSpPr>
          <p:cNvPr id="15" name="Rechteck 14"/>
          <p:cNvSpPr/>
          <p:nvPr userDrawn="1"/>
        </p:nvSpPr>
        <p:spPr>
          <a:xfrm>
            <a:off x="0" y="1380788"/>
            <a:ext cx="12192000" cy="3929507"/>
          </a:xfrm>
          <a:prstGeom prst="rect">
            <a:avLst/>
          </a:prstGeom>
          <a:gradFill>
            <a:gsLst>
              <a:gs pos="0">
                <a:srgbClr val="6699CC">
                  <a:alpha val="40000"/>
                </a:srgbClr>
              </a:gs>
              <a:gs pos="100000">
                <a:srgbClr val="FFFFFF"/>
              </a:gs>
            </a:gsLst>
            <a:lin ang="162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sz="1400" dirty="0">
              <a:solidFill>
                <a:prstClr val="black"/>
              </a:solidFill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90101" y="1600202"/>
            <a:ext cx="3912567" cy="3710092"/>
          </a:xfrm>
        </p:spPr>
        <p:txBody>
          <a:bodyPr/>
          <a:lstStyle/>
          <a:p>
            <a:pPr lvl="0"/>
            <a:r>
              <a:rPr lang="en-US" altLang="zh-TW" noProof="0"/>
              <a:t>Click to edit Master text styles</a:t>
            </a:r>
          </a:p>
          <a:p>
            <a:pPr lvl="1"/>
            <a:r>
              <a:rPr lang="en-US" altLang="zh-TW" noProof="0"/>
              <a:t>Second level</a:t>
            </a:r>
          </a:p>
          <a:p>
            <a:pPr lvl="2"/>
            <a:r>
              <a:rPr lang="en-US" altLang="zh-TW" noProof="0"/>
              <a:t>Third level</a:t>
            </a:r>
          </a:p>
          <a:p>
            <a:pPr lvl="3"/>
            <a:r>
              <a:rPr lang="en-US" altLang="zh-TW" noProof="0"/>
              <a:t>Fourth level</a:t>
            </a:r>
          </a:p>
          <a:p>
            <a:pPr lvl="4"/>
            <a:r>
              <a:rPr lang="en-US" altLang="zh-TW" noProof="0"/>
              <a:t>Fifth level</a:t>
            </a:r>
            <a:endParaRPr lang="en-GB" noProof="0" dirty="0"/>
          </a:p>
        </p:txBody>
      </p:sp>
      <p:cxnSp>
        <p:nvCxnSpPr>
          <p:cNvPr id="5" name="Gerade Verbindung 4"/>
          <p:cNvCxnSpPr/>
          <p:nvPr/>
        </p:nvCxnSpPr>
        <p:spPr>
          <a:xfrm>
            <a:off x="0" y="971453"/>
            <a:ext cx="12192000" cy="0"/>
          </a:xfrm>
          <a:prstGeom prst="line">
            <a:avLst/>
          </a:prstGeom>
          <a:ln w="12700">
            <a:solidFill>
              <a:srgbClr val="0033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12"/>
          <p:cNvCxnSpPr/>
          <p:nvPr userDrawn="1"/>
        </p:nvCxnSpPr>
        <p:spPr>
          <a:xfrm>
            <a:off x="0" y="971453"/>
            <a:ext cx="12192000" cy="0"/>
          </a:xfrm>
          <a:prstGeom prst="line">
            <a:avLst/>
          </a:prstGeom>
          <a:ln w="12700">
            <a:solidFill>
              <a:srgbClr val="0033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5924" y="6578958"/>
            <a:ext cx="840360" cy="190510"/>
          </a:xfrm>
          <a:prstGeom prst="rect">
            <a:avLst/>
          </a:prstGeom>
        </p:spPr>
      </p:pic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5750B4-0A56-4E6B-AADC-5777FA1C2983}" type="datetime1">
              <a:rPr lang="en-GB" smtClean="0">
                <a:solidFill>
                  <a:prstClr val="white">
                    <a:lumMod val="50000"/>
                  </a:prstClr>
                </a:solidFill>
              </a:rPr>
              <a:pPr/>
              <a:t>14/12/2021</a:t>
            </a:fld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3B55C4-4F5A-416B-997D-6CE47EB0A945}" type="slidenum">
              <a:rPr lang="en-GB" smtClean="0">
                <a:solidFill>
                  <a:prstClr val="white">
                    <a:lumMod val="50000"/>
                  </a:prstClr>
                </a:solidFill>
              </a:rPr>
              <a:pPr/>
              <a:t>‹#›</a:t>
            </a:fld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/>
              <a:t>Click to edit Master title styl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193345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60" imgH="360" progId="TCLayout.ActiveDocument.1">
                  <p:embed/>
                </p:oleObj>
              </mc:Choice>
              <mc:Fallback>
                <p:oleObj name="think-cell Slide" r:id="rId7" imgW="360" imgH="360" progId="TCLayout.ActiveDocument.1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6"/>
          <p:cNvSpPr>
            <a:spLocks noGrp="1"/>
          </p:cNvSpPr>
          <p:nvPr>
            <p:ph type="body" sz="quarter" idx="12"/>
            <p:custDataLst>
              <p:tags r:id="rId2"/>
            </p:custDataLst>
          </p:nvPr>
        </p:nvSpPr>
        <p:spPr>
          <a:xfrm>
            <a:off x="478367" y="1258888"/>
            <a:ext cx="11245851" cy="4865687"/>
          </a:xfrm>
        </p:spPr>
        <p:txBody>
          <a:bodyPr/>
          <a:lstStyle>
            <a:lvl1pPr>
              <a:buClr>
                <a:schemeClr val="accent1"/>
              </a:buClr>
              <a:defRPr>
                <a:latin typeface="Calibri" pitchFamily="34" charset="0"/>
              </a:defRPr>
            </a:lvl1pPr>
            <a:lvl2pPr>
              <a:buClr>
                <a:schemeClr val="accent1"/>
              </a:buClr>
              <a:defRPr>
                <a:latin typeface="Calibri" pitchFamily="34" charset="0"/>
              </a:defRPr>
            </a:lvl2pPr>
            <a:lvl3pPr>
              <a:buClr>
                <a:schemeClr val="accent1"/>
              </a:buClr>
              <a:defRPr>
                <a:latin typeface="Calibri" pitchFamily="34" charset="0"/>
              </a:defRPr>
            </a:lvl3pPr>
            <a:lvl4pPr>
              <a:buClr>
                <a:schemeClr val="accent1"/>
              </a:buClr>
              <a:defRPr>
                <a:latin typeface="Calibri" pitchFamily="34" charset="0"/>
              </a:defRPr>
            </a:lvl4pPr>
            <a:lvl5pPr>
              <a:buClr>
                <a:schemeClr val="accent1"/>
              </a:buClr>
              <a:defRPr>
                <a:latin typeface="Calibri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>
            <a:lvl1pPr>
              <a:defRPr>
                <a:latin typeface="Calibri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  <p:custDataLst>
              <p:tags r:id="rId4"/>
            </p:custDataLst>
          </p:nvPr>
        </p:nvSpPr>
        <p:spPr/>
        <p:txBody>
          <a:bodyPr/>
          <a:lstStyle>
            <a:lvl1pPr>
              <a:defRPr>
                <a:latin typeface="Calibri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  <p:custDataLst>
              <p:tags r:id="rId5"/>
            </p:custDataLst>
          </p:nvPr>
        </p:nvSpPr>
        <p:spPr/>
        <p:txBody>
          <a:bodyPr/>
          <a:lstStyle>
            <a:lvl1pPr>
              <a:defRPr>
                <a:latin typeface="Calibri" pitchFamily="34" charset="0"/>
              </a:defRPr>
            </a:lvl1pPr>
          </a:lstStyle>
          <a:p>
            <a:r>
              <a:rPr lang="en-US" dirty="0"/>
              <a:t> Business Review Template - Confidential</a:t>
            </a:r>
          </a:p>
        </p:txBody>
      </p:sp>
    </p:spTree>
    <p:extLst>
      <p:ext uri="{BB962C8B-B14F-4D97-AF65-F5344CB8AC3E}">
        <p14:creationId xmlns:p14="http://schemas.microsoft.com/office/powerpoint/2010/main" val="644598446"/>
      </p:ext>
    </p:extLst>
  </p:cSld>
  <p:clrMapOvr>
    <a:masterClrMapping/>
  </p:clrMapOvr>
  <p:transition spd="med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lide_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11"/>
          <p:cNvSpPr/>
          <p:nvPr userDrawn="1"/>
        </p:nvSpPr>
        <p:spPr>
          <a:xfrm>
            <a:off x="0" y="2928494"/>
            <a:ext cx="12192000" cy="3929507"/>
          </a:xfrm>
          <a:prstGeom prst="rect">
            <a:avLst/>
          </a:prstGeom>
          <a:gradFill>
            <a:gsLst>
              <a:gs pos="0">
                <a:srgbClr val="6699CC">
                  <a:alpha val="40000"/>
                </a:srgbClr>
              </a:gs>
              <a:gs pos="100000">
                <a:srgbClr val="FFFFFF"/>
              </a:gs>
            </a:gsLst>
            <a:lin ang="162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sz="1400" dirty="0">
              <a:solidFill>
                <a:prstClr val="black"/>
              </a:solidFill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2362102" y="1935251"/>
            <a:ext cx="6754212" cy="1231106"/>
          </a:xfrm>
        </p:spPr>
        <p:txBody>
          <a:bodyPr>
            <a:sp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altLang="zh-TW" noProof="0"/>
              <a:t>Click to edit Master text styles</a:t>
            </a:r>
          </a:p>
          <a:p>
            <a:pPr lvl="1"/>
            <a:r>
              <a:rPr lang="en-US" altLang="zh-TW" noProof="0"/>
              <a:t>Second level</a:t>
            </a:r>
          </a:p>
          <a:p>
            <a:pPr lvl="2"/>
            <a:r>
              <a:rPr lang="en-US" altLang="zh-TW" noProof="0"/>
              <a:t>Third level</a:t>
            </a:r>
          </a:p>
          <a:p>
            <a:pPr lvl="3"/>
            <a:r>
              <a:rPr lang="en-US" altLang="zh-TW" noProof="0"/>
              <a:t>Fourth level</a:t>
            </a:r>
          </a:p>
          <a:p>
            <a:pPr lvl="4"/>
            <a:r>
              <a:rPr lang="en-US" altLang="zh-TW" noProof="0"/>
              <a:t>Fifth level</a:t>
            </a:r>
            <a:endParaRPr lang="en-GB" noProof="0" dirty="0"/>
          </a:p>
        </p:txBody>
      </p:sp>
      <p:sp>
        <p:nvSpPr>
          <p:cNvPr id="15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-226475" y="1038415"/>
            <a:ext cx="2318400" cy="1738800"/>
          </a:xfrm>
          <a:prstGeom prst="ellipse">
            <a:avLst/>
          </a:prstGeom>
          <a:solidFill>
            <a:srgbClr val="6699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>
            <a:lvl1pPr marL="0" indent="0" algn="ctr">
              <a:buNone/>
              <a:defRPr lang="en-US" sz="2000" dirty="0" smtClean="0">
                <a:solidFill>
                  <a:schemeClr val="bg1"/>
                </a:solidFill>
                <a:latin typeface="+mj-lt"/>
              </a:defRPr>
            </a:lvl1pPr>
          </a:lstStyle>
          <a:p>
            <a:pPr marL="0" lvl="0" algn="ctr"/>
            <a:r>
              <a:rPr lang="en-GB" noProof="0" dirty="0"/>
              <a:t>Add. info [font size variable]</a:t>
            </a:r>
          </a:p>
        </p:txBody>
      </p:sp>
      <p:cxnSp>
        <p:nvCxnSpPr>
          <p:cNvPr id="6" name="Gerade Verbindung 5"/>
          <p:cNvCxnSpPr/>
          <p:nvPr/>
        </p:nvCxnSpPr>
        <p:spPr>
          <a:xfrm>
            <a:off x="0" y="1691647"/>
            <a:ext cx="12192000" cy="0"/>
          </a:xfrm>
          <a:prstGeom prst="line">
            <a:avLst/>
          </a:prstGeom>
          <a:ln w="12700">
            <a:solidFill>
              <a:srgbClr val="FF99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10"/>
          <p:cNvCxnSpPr/>
          <p:nvPr userDrawn="1"/>
        </p:nvCxnSpPr>
        <p:spPr>
          <a:xfrm>
            <a:off x="0" y="1691647"/>
            <a:ext cx="12192000" cy="0"/>
          </a:xfrm>
          <a:prstGeom prst="line">
            <a:avLst/>
          </a:prstGeom>
          <a:ln w="12700">
            <a:solidFill>
              <a:srgbClr val="FF99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5924" y="6578958"/>
            <a:ext cx="840360" cy="190510"/>
          </a:xfrm>
          <a:prstGeom prst="rect">
            <a:avLst/>
          </a:prstGeom>
        </p:spPr>
      </p:pic>
      <p:sp>
        <p:nvSpPr>
          <p:cNvPr id="4" name="Datumsplatzhalter 3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296EA654-ECD7-471A-8536-99948A30C4BB}" type="datetime1">
              <a:rPr lang="en-GB" smtClean="0">
                <a:solidFill>
                  <a:prstClr val="white">
                    <a:lumMod val="50000"/>
                  </a:prstClr>
                </a:solidFill>
              </a:rPr>
              <a:pPr/>
              <a:t>14/12/2021</a:t>
            </a:fld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143B55C4-4F5A-416B-997D-6CE47EB0A945}" type="slidenum">
              <a:rPr lang="en-GB" smtClean="0">
                <a:solidFill>
                  <a:prstClr val="white">
                    <a:lumMod val="50000"/>
                  </a:prstClr>
                </a:solidFill>
              </a:rPr>
              <a:pPr/>
              <a:t>‹#›</a:t>
            </a:fld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2362102" y="756761"/>
            <a:ext cx="6754213" cy="369332"/>
          </a:xfrm>
        </p:spPr>
        <p:txBody>
          <a:bodyPr/>
          <a:lstStyle/>
          <a:p>
            <a:r>
              <a:rPr lang="en-US" altLang="zh-TW"/>
              <a:t>Click to edit Master title sty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54288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rganisational chart_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/>
          <p:cNvSpPr/>
          <p:nvPr userDrawn="1"/>
        </p:nvSpPr>
        <p:spPr>
          <a:xfrm>
            <a:off x="0" y="2928494"/>
            <a:ext cx="12192000" cy="3929507"/>
          </a:xfrm>
          <a:prstGeom prst="rect">
            <a:avLst/>
          </a:prstGeom>
          <a:gradFill>
            <a:gsLst>
              <a:gs pos="0">
                <a:srgbClr val="6699CC">
                  <a:alpha val="40000"/>
                </a:srgbClr>
              </a:gs>
              <a:gs pos="100000">
                <a:srgbClr val="FFFFFF"/>
              </a:gs>
            </a:gsLst>
            <a:lin ang="162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sz="1400" dirty="0">
              <a:solidFill>
                <a:prstClr val="black"/>
              </a:solidFill>
            </a:endParaRPr>
          </a:p>
        </p:txBody>
      </p:sp>
      <p:cxnSp>
        <p:nvCxnSpPr>
          <p:cNvPr id="5" name="Gerade Verbindung 4"/>
          <p:cNvCxnSpPr/>
          <p:nvPr/>
        </p:nvCxnSpPr>
        <p:spPr>
          <a:xfrm>
            <a:off x="0" y="2492389"/>
            <a:ext cx="12192000" cy="0"/>
          </a:xfrm>
          <a:prstGeom prst="line">
            <a:avLst/>
          </a:prstGeom>
          <a:ln w="12700">
            <a:solidFill>
              <a:srgbClr val="6699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Gerade Verbindung 9"/>
          <p:cNvCxnSpPr/>
          <p:nvPr userDrawn="1"/>
        </p:nvCxnSpPr>
        <p:spPr>
          <a:xfrm>
            <a:off x="0" y="2492389"/>
            <a:ext cx="12192000" cy="0"/>
          </a:xfrm>
          <a:prstGeom prst="line">
            <a:avLst/>
          </a:prstGeom>
          <a:ln w="12700">
            <a:solidFill>
              <a:srgbClr val="6699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5924" y="6578958"/>
            <a:ext cx="840360" cy="190510"/>
          </a:xfrm>
          <a:prstGeom prst="rect">
            <a:avLst/>
          </a:prstGeom>
        </p:spPr>
      </p:pic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D98D82-2CA0-4C64-8F52-ED1E564820AE}" type="datetime1">
              <a:rPr lang="en-GB" smtClean="0">
                <a:solidFill>
                  <a:prstClr val="white">
                    <a:lumMod val="50000"/>
                  </a:prstClr>
                </a:solidFill>
              </a:rPr>
              <a:pPr/>
              <a:t>14/12/2021</a:t>
            </a:fld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3B55C4-4F5A-416B-997D-6CE47EB0A945}" type="slidenum">
              <a:rPr lang="en-GB" smtClean="0">
                <a:solidFill>
                  <a:prstClr val="white">
                    <a:lumMod val="50000"/>
                  </a:prstClr>
                </a:solidFill>
              </a:rPr>
              <a:pPr/>
              <a:t>‹#›</a:t>
            </a:fld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/>
              <a:t>Click to edit Master title styl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265411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-al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 userDrawn="1"/>
        </p:nvSpPr>
        <p:spPr>
          <a:xfrm>
            <a:off x="0" y="2928494"/>
            <a:ext cx="12192000" cy="3929507"/>
          </a:xfrm>
          <a:prstGeom prst="rect">
            <a:avLst/>
          </a:prstGeom>
          <a:gradFill>
            <a:gsLst>
              <a:gs pos="0">
                <a:srgbClr val="6699CC">
                  <a:alpha val="40000"/>
                </a:srgbClr>
              </a:gs>
              <a:gs pos="100000">
                <a:srgbClr val="FFFFFF"/>
              </a:gs>
            </a:gsLst>
            <a:lin ang="162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sz="1400" dirty="0">
              <a:solidFill>
                <a:prstClr val="black"/>
              </a:solidFill>
            </a:endParaRP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C471A6-68F5-46F4-AB55-274B9534F60C}" type="datetime1">
              <a:rPr lang="en-GB" smtClean="0">
                <a:solidFill>
                  <a:prstClr val="white">
                    <a:lumMod val="50000"/>
                  </a:prstClr>
                </a:solidFill>
              </a:rPr>
              <a:pPr/>
              <a:t>14/12/2021</a:t>
            </a:fld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3B55C4-4F5A-416B-997D-6CE47EB0A945}" type="slidenum">
              <a:rPr lang="en-GB" smtClean="0">
                <a:solidFill>
                  <a:prstClr val="white">
                    <a:lumMod val="50000"/>
                  </a:prstClr>
                </a:solidFill>
              </a:rPr>
              <a:pPr/>
              <a:t>‹#›</a:t>
            </a:fld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cxnSp>
        <p:nvCxnSpPr>
          <p:cNvPr id="7" name="Gerade Verbindung 6"/>
          <p:cNvCxnSpPr/>
          <p:nvPr userDrawn="1"/>
        </p:nvCxnSpPr>
        <p:spPr>
          <a:xfrm>
            <a:off x="0" y="971453"/>
            <a:ext cx="12192000" cy="0"/>
          </a:xfrm>
          <a:prstGeom prst="line">
            <a:avLst/>
          </a:prstGeom>
          <a:ln w="12700">
            <a:solidFill>
              <a:srgbClr val="0033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112758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36pt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90100" y="104583"/>
            <a:ext cx="11211800" cy="553998"/>
          </a:xfrm>
        </p:spPr>
        <p:txBody>
          <a:bodyPr/>
          <a:lstStyle>
            <a:lvl1pPr>
              <a:defRPr sz="3600">
                <a:solidFill>
                  <a:srgbClr val="003366"/>
                </a:solidFill>
              </a:defRPr>
            </a:lvl1pPr>
          </a:lstStyle>
          <a:p>
            <a:r>
              <a:rPr lang="en-US" altLang="zh-TW" noProof="0"/>
              <a:t>Click to edit Master title style</a:t>
            </a:r>
            <a:endParaRPr lang="en-GB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altLang="zh-TW" noProof="0"/>
              <a:t>Click to edit Master text styles</a:t>
            </a:r>
          </a:p>
          <a:p>
            <a:pPr lvl="1"/>
            <a:r>
              <a:rPr lang="en-US" altLang="zh-TW" noProof="0"/>
              <a:t>Second level</a:t>
            </a:r>
          </a:p>
          <a:p>
            <a:pPr lvl="2"/>
            <a:r>
              <a:rPr lang="en-US" altLang="zh-TW" noProof="0"/>
              <a:t>Third level</a:t>
            </a:r>
          </a:p>
          <a:p>
            <a:pPr lvl="3"/>
            <a:r>
              <a:rPr lang="en-US" altLang="zh-TW" noProof="0"/>
              <a:t>Fourth level</a:t>
            </a:r>
          </a:p>
          <a:p>
            <a:pPr lvl="4"/>
            <a:r>
              <a:rPr lang="en-US" altLang="zh-TW" noProof="0"/>
              <a:t>Fifth level</a:t>
            </a:r>
            <a:endParaRPr lang="en-GB" noProof="0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F327B5-4F46-4E52-AD59-88A207270947}" type="datetime1">
              <a:rPr lang="en-GB" smtClean="0">
                <a:solidFill>
                  <a:prstClr val="white">
                    <a:lumMod val="50000"/>
                  </a:prstClr>
                </a:solidFill>
              </a:rPr>
              <a:pPr/>
              <a:t>14/12/2021</a:t>
            </a:fld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3B55C4-4F5A-416B-997D-6CE47EB0A945}" type="slidenum">
              <a:rPr lang="en-GB" smtClean="0">
                <a:solidFill>
                  <a:prstClr val="white">
                    <a:lumMod val="50000"/>
                  </a:prstClr>
                </a:solidFill>
              </a:rPr>
              <a:pPr/>
              <a:t>‹#›</a:t>
            </a:fld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cxnSp>
        <p:nvCxnSpPr>
          <p:cNvPr id="7" name="Gerade Verbindung 6"/>
          <p:cNvCxnSpPr/>
          <p:nvPr userDrawn="1"/>
        </p:nvCxnSpPr>
        <p:spPr>
          <a:xfrm>
            <a:off x="0" y="971453"/>
            <a:ext cx="12192000" cy="0"/>
          </a:xfrm>
          <a:prstGeom prst="line">
            <a:avLst/>
          </a:prstGeom>
          <a:ln w="12700">
            <a:solidFill>
              <a:srgbClr val="0033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630292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24pt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90100" y="153349"/>
            <a:ext cx="11211800" cy="369332"/>
          </a:xfrm>
        </p:spPr>
        <p:txBody>
          <a:bodyPr/>
          <a:lstStyle>
            <a:lvl1pPr>
              <a:defRPr sz="2400">
                <a:solidFill>
                  <a:srgbClr val="003366"/>
                </a:solidFill>
              </a:defRPr>
            </a:lvl1pPr>
          </a:lstStyle>
          <a:p>
            <a:r>
              <a:rPr lang="en-US" altLang="zh-TW" noProof="0"/>
              <a:t>Click to edit Master title style</a:t>
            </a:r>
            <a:endParaRPr lang="en-GB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altLang="zh-TW" noProof="0"/>
              <a:t>Click to edit Master text styles</a:t>
            </a:r>
          </a:p>
          <a:p>
            <a:pPr lvl="1"/>
            <a:r>
              <a:rPr lang="en-US" altLang="zh-TW" noProof="0"/>
              <a:t>Second level</a:t>
            </a:r>
          </a:p>
          <a:p>
            <a:pPr lvl="2"/>
            <a:r>
              <a:rPr lang="en-US" altLang="zh-TW" noProof="0"/>
              <a:t>Third level</a:t>
            </a:r>
          </a:p>
          <a:p>
            <a:pPr lvl="3"/>
            <a:r>
              <a:rPr lang="en-US" altLang="zh-TW" noProof="0"/>
              <a:t>Fourth level</a:t>
            </a:r>
          </a:p>
          <a:p>
            <a:pPr lvl="4"/>
            <a:r>
              <a:rPr lang="en-US" altLang="zh-TW" noProof="0"/>
              <a:t>Fifth level</a:t>
            </a:r>
            <a:endParaRPr lang="en-GB" noProof="0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E4B35C-2CFB-4984-B1A5-ABCEC85D20F8}" type="datetime1">
              <a:rPr lang="en-GB" smtClean="0">
                <a:solidFill>
                  <a:prstClr val="white">
                    <a:lumMod val="50000"/>
                  </a:prstClr>
                </a:solidFill>
              </a:rPr>
              <a:pPr/>
              <a:t>14/12/2021</a:t>
            </a:fld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3B55C4-4F5A-416B-997D-6CE47EB0A945}" type="slidenum">
              <a:rPr lang="en-GB" smtClean="0">
                <a:solidFill>
                  <a:prstClr val="white">
                    <a:lumMod val="50000"/>
                  </a:prstClr>
                </a:solidFill>
              </a:rPr>
              <a:pPr/>
              <a:t>‹#›</a:t>
            </a:fld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cxnSp>
        <p:nvCxnSpPr>
          <p:cNvPr id="7" name="Gerade Verbindung 6"/>
          <p:cNvCxnSpPr/>
          <p:nvPr userDrawn="1"/>
        </p:nvCxnSpPr>
        <p:spPr>
          <a:xfrm>
            <a:off x="0" y="971453"/>
            <a:ext cx="12192000" cy="0"/>
          </a:xfrm>
          <a:prstGeom prst="line">
            <a:avLst/>
          </a:prstGeom>
          <a:ln w="12700">
            <a:solidFill>
              <a:srgbClr val="0033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884004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page_0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2362098" y="1600202"/>
            <a:ext cx="7488001" cy="4525963"/>
          </a:xfrm>
        </p:spPr>
        <p:txBody>
          <a:bodyPr/>
          <a:lstStyle>
            <a:lvl1pPr marL="0" indent="0">
              <a:spcBef>
                <a:spcPts val="600"/>
              </a:spcBef>
              <a:buNone/>
              <a:defRPr/>
            </a:lvl1pPr>
            <a:lvl2pPr marL="182563" indent="-182563">
              <a:spcBef>
                <a:spcPts val="600"/>
              </a:spcBef>
              <a:buFont typeface="BISans" panose="02000503040000020004" pitchFamily="2" charset="0"/>
              <a:buChar char="•"/>
              <a:defRPr/>
            </a:lvl2pPr>
            <a:lvl3pPr marL="358775" indent="-176213">
              <a:buFont typeface="Arial" panose="020B0604020202020204" pitchFamily="34" charset="0"/>
              <a:buChar char="–"/>
              <a:defRPr/>
            </a:lvl3pPr>
          </a:lstStyle>
          <a:p>
            <a:pPr lvl="0"/>
            <a:r>
              <a:rPr lang="en-US" altLang="zh-TW" noProof="0"/>
              <a:t>Click to edit Master text styles</a:t>
            </a:r>
          </a:p>
          <a:p>
            <a:pPr lvl="1"/>
            <a:r>
              <a:rPr lang="en-US" altLang="zh-TW" noProof="0"/>
              <a:t>Second level</a:t>
            </a:r>
          </a:p>
          <a:p>
            <a:pPr lvl="2"/>
            <a:r>
              <a:rPr lang="en-US" altLang="zh-TW" noProof="0"/>
              <a:t>Third level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C90F8743-0E6F-41EA-91A8-8122DB0D84F5}" type="datetime1">
              <a:rPr lang="en-GB" smtClean="0">
                <a:solidFill>
                  <a:prstClr val="white">
                    <a:lumMod val="50000"/>
                  </a:prstClr>
                </a:solidFill>
              </a:rPr>
              <a:pPr/>
              <a:t>14/12/2021</a:t>
            </a:fld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143B55C4-4F5A-416B-997D-6CE47EB0A945}" type="slidenum">
              <a:rPr lang="en-GB" smtClean="0">
                <a:solidFill>
                  <a:prstClr val="white">
                    <a:lumMod val="50000"/>
                  </a:prstClr>
                </a:solidFill>
              </a:rPr>
              <a:pPr/>
              <a:t>‹#›</a:t>
            </a:fld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4" name="Titel 1"/>
          <p:cNvSpPr>
            <a:spLocks noGrp="1"/>
          </p:cNvSpPr>
          <p:nvPr>
            <p:ph type="title"/>
          </p:nvPr>
        </p:nvSpPr>
        <p:spPr>
          <a:xfrm>
            <a:off x="490100" y="153349"/>
            <a:ext cx="11211800" cy="369332"/>
          </a:xfrm>
        </p:spPr>
        <p:txBody>
          <a:bodyPr/>
          <a:lstStyle>
            <a:lvl1pPr>
              <a:defRPr sz="2400">
                <a:solidFill>
                  <a:srgbClr val="003366"/>
                </a:solidFill>
              </a:defRPr>
            </a:lvl1pPr>
          </a:lstStyle>
          <a:p>
            <a:r>
              <a:rPr lang="en-US" altLang="zh-TW" noProof="0"/>
              <a:t>Click to edit Master title style</a:t>
            </a:r>
            <a:endParaRPr lang="en-GB" noProof="0" dirty="0"/>
          </a:p>
        </p:txBody>
      </p:sp>
      <p:cxnSp>
        <p:nvCxnSpPr>
          <p:cNvPr id="8" name="Gerade Verbindung 7"/>
          <p:cNvCxnSpPr/>
          <p:nvPr userDrawn="1"/>
        </p:nvCxnSpPr>
        <p:spPr>
          <a:xfrm>
            <a:off x="0" y="971453"/>
            <a:ext cx="12192000" cy="0"/>
          </a:xfrm>
          <a:prstGeom prst="line">
            <a:avLst/>
          </a:prstGeom>
          <a:ln w="12700">
            <a:solidFill>
              <a:srgbClr val="0033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5924" y="6578958"/>
            <a:ext cx="840360" cy="1905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0685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gram slide_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90101" y="1600202"/>
            <a:ext cx="3912567" cy="3710092"/>
          </a:xfrm>
        </p:spPr>
        <p:txBody>
          <a:bodyPr/>
          <a:lstStyle/>
          <a:p>
            <a:pPr lvl="0"/>
            <a:r>
              <a:rPr lang="en-US" altLang="zh-TW" noProof="0"/>
              <a:t>Click to edit Master text styles</a:t>
            </a:r>
          </a:p>
          <a:p>
            <a:pPr lvl="1"/>
            <a:r>
              <a:rPr lang="en-US" altLang="zh-TW" noProof="0"/>
              <a:t>Second level</a:t>
            </a:r>
          </a:p>
          <a:p>
            <a:pPr lvl="2"/>
            <a:r>
              <a:rPr lang="en-US" altLang="zh-TW" noProof="0"/>
              <a:t>Third level</a:t>
            </a:r>
          </a:p>
          <a:p>
            <a:pPr lvl="3"/>
            <a:r>
              <a:rPr lang="en-US" altLang="zh-TW" noProof="0"/>
              <a:t>Fourth level</a:t>
            </a:r>
          </a:p>
          <a:p>
            <a:pPr lvl="4"/>
            <a:r>
              <a:rPr lang="en-US" altLang="zh-TW" noProof="0"/>
              <a:t>Fifth level</a:t>
            </a:r>
            <a:endParaRPr lang="en-GB" noProof="0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78DA1FEC-CBCE-41CB-A00E-A142F817B3A7}" type="datetime1">
              <a:rPr lang="en-GB" smtClean="0">
                <a:solidFill>
                  <a:prstClr val="white">
                    <a:lumMod val="50000"/>
                  </a:prstClr>
                </a:solidFill>
              </a:rPr>
              <a:pPr/>
              <a:t>14/12/2021</a:t>
            </a:fld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143B55C4-4F5A-416B-997D-6CE47EB0A945}" type="slidenum">
              <a:rPr lang="en-GB" smtClean="0">
                <a:solidFill>
                  <a:prstClr val="white">
                    <a:lumMod val="50000"/>
                  </a:prstClr>
                </a:solidFill>
              </a:rPr>
              <a:pPr/>
              <a:t>‹#›</a:t>
            </a:fld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6" name="Titel 1"/>
          <p:cNvSpPr>
            <a:spLocks noGrp="1"/>
          </p:cNvSpPr>
          <p:nvPr>
            <p:ph type="title"/>
          </p:nvPr>
        </p:nvSpPr>
        <p:spPr>
          <a:xfrm>
            <a:off x="490100" y="153349"/>
            <a:ext cx="11211800" cy="369332"/>
          </a:xfrm>
        </p:spPr>
        <p:txBody>
          <a:bodyPr/>
          <a:lstStyle>
            <a:lvl1pPr>
              <a:defRPr sz="2400">
                <a:solidFill>
                  <a:srgbClr val="003366"/>
                </a:solidFill>
              </a:defRPr>
            </a:lvl1pPr>
          </a:lstStyle>
          <a:p>
            <a:r>
              <a:rPr lang="en-US" altLang="zh-TW" noProof="0"/>
              <a:t>Click to edit Master title style</a:t>
            </a:r>
            <a:endParaRPr lang="en-GB" noProof="0" dirty="0"/>
          </a:p>
        </p:txBody>
      </p:sp>
      <p:cxnSp>
        <p:nvCxnSpPr>
          <p:cNvPr id="8" name="Gerade Verbindung 7"/>
          <p:cNvCxnSpPr/>
          <p:nvPr userDrawn="1"/>
        </p:nvCxnSpPr>
        <p:spPr>
          <a:xfrm>
            <a:off x="0" y="971453"/>
            <a:ext cx="12192000" cy="0"/>
          </a:xfrm>
          <a:prstGeom prst="line">
            <a:avLst/>
          </a:prstGeom>
          <a:ln w="12700">
            <a:solidFill>
              <a:srgbClr val="0033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5924" y="6578958"/>
            <a:ext cx="840360" cy="1905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54927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95A03C-FB3C-4331-9FA1-4886C0A46E98}" type="datetime1">
              <a:rPr lang="en-GB" smtClean="0">
                <a:solidFill>
                  <a:prstClr val="white">
                    <a:lumMod val="50000"/>
                  </a:prstClr>
                </a:solidFill>
              </a:rPr>
              <a:pPr/>
              <a:t>14/12/2021</a:t>
            </a:fld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3B55C4-4F5A-416B-997D-6CE47EB0A945}" type="slidenum">
              <a:rPr lang="en-GB" smtClean="0">
                <a:solidFill>
                  <a:prstClr val="white">
                    <a:lumMod val="50000"/>
                  </a:prstClr>
                </a:solidFill>
              </a:rPr>
              <a:pPr/>
              <a:t>‹#›</a:t>
            </a:fld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71976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page_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11"/>
          <p:cNvSpPr/>
          <p:nvPr userDrawn="1"/>
        </p:nvSpPr>
        <p:spPr>
          <a:xfrm>
            <a:off x="0" y="2928500"/>
            <a:ext cx="12192000" cy="3929507"/>
          </a:xfrm>
          <a:prstGeom prst="rect">
            <a:avLst/>
          </a:prstGeom>
          <a:gradFill>
            <a:gsLst>
              <a:gs pos="0">
                <a:srgbClr val="6699CC">
                  <a:alpha val="40000"/>
                </a:srgbClr>
              </a:gs>
              <a:gs pos="100000">
                <a:srgbClr val="FFFFFF"/>
              </a:gs>
            </a:gsLst>
            <a:lin ang="162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sz="1400" dirty="0">
              <a:solidFill>
                <a:prstClr val="black"/>
              </a:solidFill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231" t="19013" b="13976"/>
          <a:stretch/>
        </p:blipFill>
        <p:spPr bwMode="auto">
          <a:xfrm>
            <a:off x="0" y="0"/>
            <a:ext cx="8573053" cy="685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24" name="Gerade Verbindung 23"/>
          <p:cNvCxnSpPr/>
          <p:nvPr/>
        </p:nvCxnSpPr>
        <p:spPr>
          <a:xfrm>
            <a:off x="7" y="2492389"/>
            <a:ext cx="12191999" cy="0"/>
          </a:xfrm>
          <a:prstGeom prst="line">
            <a:avLst/>
          </a:prstGeom>
          <a:ln w="12700">
            <a:solidFill>
              <a:srgbClr val="0033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490105" y="2654884"/>
            <a:ext cx="7845825" cy="738664"/>
          </a:xfrm>
        </p:spPr>
        <p:txBody>
          <a:bodyPr wrap="square" lIns="0">
            <a:spAutoFit/>
          </a:bodyPr>
          <a:lstStyle>
            <a:lvl1pPr>
              <a:defRPr sz="4800">
                <a:solidFill>
                  <a:srgbClr val="003366"/>
                </a:solidFill>
              </a:defRPr>
            </a:lvl1pPr>
          </a:lstStyle>
          <a:p>
            <a:r>
              <a:rPr lang="en-GB" noProof="0" dirty="0" err="1"/>
              <a:t>Titel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490105" y="4763671"/>
            <a:ext cx="7845825" cy="369332"/>
          </a:xfrm>
        </p:spPr>
        <p:txBody>
          <a:bodyPr wrap="square">
            <a:spAutoFit/>
          </a:bodyPr>
          <a:lstStyle>
            <a:lvl1pPr marL="0" indent="0" algn="l">
              <a:buNone/>
              <a:defRPr sz="2400">
                <a:solidFill>
                  <a:srgbClr val="003366"/>
                </a:solidFill>
                <a:latin typeface="BISansCond" panose="02000006050000020004" pitchFamily="2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 dirty="0" err="1"/>
              <a:t>Untertitel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  <p:cxnSp>
        <p:nvCxnSpPr>
          <p:cNvPr id="10" name="Gerade Verbindung 9"/>
          <p:cNvCxnSpPr/>
          <p:nvPr userDrawn="1"/>
        </p:nvCxnSpPr>
        <p:spPr>
          <a:xfrm>
            <a:off x="7" y="2492389"/>
            <a:ext cx="12191999" cy="0"/>
          </a:xfrm>
          <a:prstGeom prst="line">
            <a:avLst/>
          </a:prstGeom>
          <a:ln w="12700">
            <a:solidFill>
              <a:srgbClr val="0033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Grafik 14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22958" y="6120399"/>
            <a:ext cx="1679601" cy="381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09227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age_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eck 12"/>
          <p:cNvSpPr/>
          <p:nvPr userDrawn="1"/>
        </p:nvSpPr>
        <p:spPr>
          <a:xfrm>
            <a:off x="0" y="2928500"/>
            <a:ext cx="12192000" cy="3929507"/>
          </a:xfrm>
          <a:prstGeom prst="rect">
            <a:avLst/>
          </a:prstGeom>
          <a:gradFill>
            <a:gsLst>
              <a:gs pos="0">
                <a:srgbClr val="6699CC">
                  <a:alpha val="40000"/>
                </a:srgbClr>
              </a:gs>
              <a:gs pos="100000">
                <a:srgbClr val="FFFFFF"/>
              </a:gs>
            </a:gsLst>
            <a:lin ang="162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sz="1400" dirty="0">
              <a:solidFill>
                <a:prstClr val="black"/>
              </a:solidFill>
            </a:endParaRPr>
          </a:p>
        </p:txBody>
      </p:sp>
      <p:pic>
        <p:nvPicPr>
          <p:cNvPr id="14" name="Picture 2"/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231" t="19013" b="13976"/>
          <a:stretch/>
        </p:blipFill>
        <p:spPr bwMode="auto">
          <a:xfrm>
            <a:off x="0" y="0"/>
            <a:ext cx="8573053" cy="685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24" name="Gerade Verbindung 23"/>
          <p:cNvCxnSpPr/>
          <p:nvPr/>
        </p:nvCxnSpPr>
        <p:spPr>
          <a:xfrm>
            <a:off x="7" y="2492389"/>
            <a:ext cx="12191999" cy="0"/>
          </a:xfrm>
          <a:prstGeom prst="line">
            <a:avLst/>
          </a:prstGeom>
          <a:ln w="12700">
            <a:solidFill>
              <a:srgbClr val="0033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490100" y="2654884"/>
            <a:ext cx="7166475" cy="738664"/>
          </a:xfrm>
        </p:spPr>
        <p:txBody>
          <a:bodyPr wrap="square">
            <a:spAutoFit/>
          </a:bodyPr>
          <a:lstStyle>
            <a:lvl1pPr>
              <a:defRPr sz="4800">
                <a:solidFill>
                  <a:srgbClr val="003366"/>
                </a:solidFill>
              </a:defRPr>
            </a:lvl1pPr>
          </a:lstStyle>
          <a:p>
            <a:r>
              <a:rPr lang="en-GB" noProof="0" dirty="0" err="1"/>
              <a:t>Titel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490100" y="4763671"/>
            <a:ext cx="7166475" cy="369332"/>
          </a:xfrm>
        </p:spPr>
        <p:txBody>
          <a:bodyPr wrap="square">
            <a:spAutoFit/>
          </a:bodyPr>
          <a:lstStyle>
            <a:lvl1pPr marL="0" indent="0" algn="l">
              <a:buNone/>
              <a:defRPr sz="2400">
                <a:solidFill>
                  <a:srgbClr val="003366"/>
                </a:solidFill>
                <a:latin typeface="BISansCond" panose="02000006050000020004" pitchFamily="2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 dirty="0" err="1"/>
              <a:t>Untertitel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  <p:cxnSp>
        <p:nvCxnSpPr>
          <p:cNvPr id="11" name="Gerade Verbindung 10"/>
          <p:cNvCxnSpPr/>
          <p:nvPr userDrawn="1"/>
        </p:nvCxnSpPr>
        <p:spPr>
          <a:xfrm>
            <a:off x="7" y="2492389"/>
            <a:ext cx="12191999" cy="0"/>
          </a:xfrm>
          <a:prstGeom prst="line">
            <a:avLst/>
          </a:prstGeom>
          <a:ln w="12700">
            <a:solidFill>
              <a:srgbClr val="0033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724524" y="749516"/>
            <a:ext cx="3014400" cy="2260800"/>
          </a:xfrm>
          <a:prstGeom prst="ellipse">
            <a:avLst/>
          </a:prstGeom>
          <a:gradFill flip="none" rotWithShape="1">
            <a:gsLst>
              <a:gs pos="0">
                <a:srgbClr val="002142"/>
              </a:gs>
              <a:gs pos="100000">
                <a:srgbClr val="275187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>
            <a:normAutofit/>
          </a:bodyPr>
          <a:lstStyle>
            <a:lvl1pPr marL="0" indent="0" algn="ctr">
              <a:buNone/>
              <a:defRPr lang="de-DE" sz="3000" dirty="0">
                <a:solidFill>
                  <a:schemeClr val="bg1"/>
                </a:solidFill>
                <a:latin typeface="+mj-lt"/>
              </a:defRPr>
            </a:lvl1pPr>
          </a:lstStyle>
          <a:p>
            <a:pPr marL="0" lvl="0" algn="ctr"/>
            <a:r>
              <a:rPr lang="en-GB" noProof="0" dirty="0"/>
              <a:t>Add. info [font size variable]</a:t>
            </a:r>
          </a:p>
        </p:txBody>
      </p: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22958" y="6120399"/>
            <a:ext cx="1679601" cy="381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81825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Calibri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Calibri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Calibri" pitchFamily="34" charset="0"/>
              </a:defRPr>
            </a:lvl1pPr>
          </a:lstStyle>
          <a:p>
            <a:r>
              <a:rPr lang="en-US" dirty="0"/>
              <a:t> Business Review Template - Confidential</a:t>
            </a:r>
          </a:p>
        </p:txBody>
      </p:sp>
    </p:spTree>
    <p:extLst>
      <p:ext uri="{BB962C8B-B14F-4D97-AF65-F5344CB8AC3E}">
        <p14:creationId xmlns:p14="http://schemas.microsoft.com/office/powerpoint/2010/main" val="1837238553"/>
      </p:ext>
    </p:extLst>
  </p:cSld>
  <p:clrMapOvr>
    <a:masterClrMapping/>
  </p:clrMapOvr>
  <p:transition spd="med"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_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eck 12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rgbClr val="89C0FF"/>
              </a:gs>
              <a:gs pos="100000">
                <a:srgbClr val="5486C1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dirty="0">
              <a:solidFill>
                <a:prstClr val="white"/>
              </a:solidFill>
            </a:endParaRPr>
          </a:p>
        </p:txBody>
      </p:sp>
      <p:cxnSp>
        <p:nvCxnSpPr>
          <p:cNvPr id="17" name="Gerade Verbindung 16"/>
          <p:cNvCxnSpPr/>
          <p:nvPr/>
        </p:nvCxnSpPr>
        <p:spPr>
          <a:xfrm>
            <a:off x="0" y="2492389"/>
            <a:ext cx="12192000" cy="0"/>
          </a:xfrm>
          <a:prstGeom prst="line">
            <a:avLst/>
          </a:prstGeom>
          <a:ln w="1270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Textplatzhalter 18"/>
          <p:cNvSpPr>
            <a:spLocks noGrp="1"/>
          </p:cNvSpPr>
          <p:nvPr>
            <p:ph type="body" sz="quarter" idx="11"/>
          </p:nvPr>
        </p:nvSpPr>
        <p:spPr>
          <a:xfrm>
            <a:off x="469113" y="2640129"/>
            <a:ext cx="5412316" cy="1477328"/>
          </a:xfrm>
        </p:spPr>
        <p:txBody>
          <a:bodyPr wrap="square">
            <a:spAutoFit/>
          </a:bodyPr>
          <a:lstStyle>
            <a:lvl1pPr marL="0" indent="0">
              <a:buNone/>
              <a:defRPr sz="4800">
                <a:solidFill>
                  <a:schemeClr val="bg1"/>
                </a:solidFill>
                <a:latin typeface="BISansCond" panose="02000006050000020004" pitchFamily="2" charset="0"/>
              </a:defRPr>
            </a:lvl1pPr>
          </a:lstStyle>
          <a:p>
            <a:pPr lvl="0"/>
            <a:r>
              <a:rPr lang="en-US" altLang="zh-TW" noProof="0"/>
              <a:t>Click to edit Master text styles</a:t>
            </a:r>
          </a:p>
        </p:txBody>
      </p:sp>
      <p:sp>
        <p:nvSpPr>
          <p:cNvPr id="20" name="Textplatzhalter 18"/>
          <p:cNvSpPr>
            <a:spLocks noGrp="1"/>
          </p:cNvSpPr>
          <p:nvPr>
            <p:ph type="body" sz="quarter" idx="12"/>
          </p:nvPr>
        </p:nvSpPr>
        <p:spPr>
          <a:xfrm>
            <a:off x="469105" y="3718148"/>
            <a:ext cx="5412315" cy="369332"/>
          </a:xfrm>
        </p:spPr>
        <p:txBody>
          <a:bodyPr wrap="square">
            <a:spAutoFit/>
          </a:bodyPr>
          <a:lstStyle>
            <a:lvl1pPr marL="0" indent="0">
              <a:buNone/>
              <a:defRPr sz="2400">
                <a:solidFill>
                  <a:schemeClr val="bg1"/>
                </a:solidFill>
                <a:latin typeface="BISansCond" panose="02000006050000020004" pitchFamily="2" charset="0"/>
              </a:defRPr>
            </a:lvl1pPr>
          </a:lstStyle>
          <a:p>
            <a:pPr lvl="0"/>
            <a:r>
              <a:rPr lang="en-US" altLang="zh-TW" noProof="0"/>
              <a:t>Click to edit Master text styles</a:t>
            </a:r>
          </a:p>
        </p:txBody>
      </p:sp>
      <p:cxnSp>
        <p:nvCxnSpPr>
          <p:cNvPr id="10" name="Gerade Verbindung 9"/>
          <p:cNvCxnSpPr/>
          <p:nvPr userDrawn="1"/>
        </p:nvCxnSpPr>
        <p:spPr>
          <a:xfrm>
            <a:off x="0" y="2492389"/>
            <a:ext cx="12192000" cy="0"/>
          </a:xfrm>
          <a:prstGeom prst="line">
            <a:avLst/>
          </a:prstGeom>
          <a:ln w="1270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26265" y="6120399"/>
            <a:ext cx="1679601" cy="381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34906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_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eck 12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rgbClr val="89C0FF"/>
              </a:gs>
              <a:gs pos="100000">
                <a:srgbClr val="5486C1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dirty="0">
              <a:solidFill>
                <a:prstClr val="white"/>
              </a:solidFill>
            </a:endParaRPr>
          </a:p>
        </p:txBody>
      </p:sp>
      <p:cxnSp>
        <p:nvCxnSpPr>
          <p:cNvPr id="17" name="Gerade Verbindung 16"/>
          <p:cNvCxnSpPr/>
          <p:nvPr/>
        </p:nvCxnSpPr>
        <p:spPr>
          <a:xfrm>
            <a:off x="0" y="2492389"/>
            <a:ext cx="12192000" cy="0"/>
          </a:xfrm>
          <a:prstGeom prst="line">
            <a:avLst/>
          </a:prstGeom>
          <a:ln w="1270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Textplatzhalter 18"/>
          <p:cNvSpPr>
            <a:spLocks noGrp="1"/>
          </p:cNvSpPr>
          <p:nvPr>
            <p:ph type="body" sz="quarter" idx="11"/>
          </p:nvPr>
        </p:nvSpPr>
        <p:spPr>
          <a:xfrm>
            <a:off x="469113" y="2640129"/>
            <a:ext cx="5412316" cy="1477328"/>
          </a:xfrm>
        </p:spPr>
        <p:txBody>
          <a:bodyPr wrap="square">
            <a:spAutoFit/>
          </a:bodyPr>
          <a:lstStyle>
            <a:lvl1pPr marL="0" indent="0">
              <a:buNone/>
              <a:defRPr sz="4800">
                <a:solidFill>
                  <a:schemeClr val="bg1"/>
                </a:solidFill>
                <a:latin typeface="BISansCond" panose="02000006050000020004" pitchFamily="2" charset="0"/>
              </a:defRPr>
            </a:lvl1pPr>
          </a:lstStyle>
          <a:p>
            <a:pPr lvl="0"/>
            <a:r>
              <a:rPr lang="en-US" altLang="zh-TW" noProof="0"/>
              <a:t>Click to edit Master text styles</a:t>
            </a:r>
          </a:p>
        </p:txBody>
      </p:sp>
      <p:sp>
        <p:nvSpPr>
          <p:cNvPr id="20" name="Textplatzhalter 18"/>
          <p:cNvSpPr>
            <a:spLocks noGrp="1"/>
          </p:cNvSpPr>
          <p:nvPr>
            <p:ph type="body" sz="quarter" idx="12"/>
          </p:nvPr>
        </p:nvSpPr>
        <p:spPr>
          <a:xfrm>
            <a:off x="469105" y="3718148"/>
            <a:ext cx="5412315" cy="369332"/>
          </a:xfrm>
        </p:spPr>
        <p:txBody>
          <a:bodyPr wrap="square">
            <a:spAutoFit/>
          </a:bodyPr>
          <a:lstStyle>
            <a:lvl1pPr marL="0" indent="0">
              <a:buNone/>
              <a:defRPr sz="2400">
                <a:solidFill>
                  <a:schemeClr val="bg1"/>
                </a:solidFill>
                <a:latin typeface="BISansCond" panose="02000006050000020004" pitchFamily="2" charset="0"/>
              </a:defRPr>
            </a:lvl1pPr>
          </a:lstStyle>
          <a:p>
            <a:pPr lvl="0"/>
            <a:r>
              <a:rPr lang="en-US" altLang="zh-TW" noProof="0"/>
              <a:t>Click to edit Master text styles</a:t>
            </a:r>
          </a:p>
        </p:txBody>
      </p:sp>
      <p:cxnSp>
        <p:nvCxnSpPr>
          <p:cNvPr id="10" name="Gerade Verbindung 9"/>
          <p:cNvCxnSpPr/>
          <p:nvPr userDrawn="1"/>
        </p:nvCxnSpPr>
        <p:spPr>
          <a:xfrm>
            <a:off x="0" y="2492389"/>
            <a:ext cx="12192000" cy="0"/>
          </a:xfrm>
          <a:prstGeom prst="line">
            <a:avLst/>
          </a:prstGeom>
          <a:ln w="1270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5" name="Textplatzhalter 24"/>
          <p:cNvSpPr>
            <a:spLocks noGrp="1"/>
          </p:cNvSpPr>
          <p:nvPr>
            <p:ph type="body" sz="quarter" idx="13" hasCustomPrompt="1"/>
          </p:nvPr>
        </p:nvSpPr>
        <p:spPr>
          <a:xfrm>
            <a:off x="6088023" y="970175"/>
            <a:ext cx="3691200" cy="2768400"/>
          </a:xfrm>
          <a:prstGeom prst="ellipse">
            <a:avLst/>
          </a:prstGeom>
          <a:gradFill>
            <a:gsLst>
              <a:gs pos="0">
                <a:schemeClr val="bg1"/>
              </a:gs>
              <a:gs pos="100000">
                <a:schemeClr val="bg1">
                  <a:alpha val="59000"/>
                </a:schemeClr>
              </a:gs>
            </a:gsLst>
            <a:lin ang="9000000" scaled="0"/>
          </a:gradFill>
          <a:ln>
            <a:noFill/>
          </a:ln>
        </p:spPr>
        <p:txBody>
          <a:bodyPr anchor="ctr" anchorCtr="0"/>
          <a:lstStyle>
            <a:lvl1pPr marL="0" indent="0" algn="ctr">
              <a:spcBef>
                <a:spcPts val="0"/>
              </a:spcBef>
              <a:buNone/>
              <a:defRPr sz="2400">
                <a:solidFill>
                  <a:srgbClr val="003366"/>
                </a:solidFill>
                <a:latin typeface="BISansCond" panose="02000006050000020004" pitchFamily="2" charset="0"/>
              </a:defRPr>
            </a:lvl1pPr>
          </a:lstStyle>
          <a:p>
            <a:pPr lvl="0"/>
            <a:r>
              <a:rPr lang="en-GB" noProof="0" dirty="0" err="1"/>
              <a:t>Textmaster</a:t>
            </a:r>
            <a:r>
              <a:rPr lang="en-GB" noProof="0" dirty="0"/>
              <a:t>-format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26265" y="6120399"/>
            <a:ext cx="1679601" cy="381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58520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_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hteck 1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rgbClr val="89C0FF"/>
              </a:gs>
              <a:gs pos="100000">
                <a:srgbClr val="5486C1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dirty="0">
              <a:solidFill>
                <a:prstClr val="white"/>
              </a:solidFill>
            </a:endParaRPr>
          </a:p>
        </p:txBody>
      </p:sp>
      <p:cxnSp>
        <p:nvCxnSpPr>
          <p:cNvPr id="17" name="Gerade Verbindung 16"/>
          <p:cNvCxnSpPr/>
          <p:nvPr/>
        </p:nvCxnSpPr>
        <p:spPr>
          <a:xfrm>
            <a:off x="0" y="2492389"/>
            <a:ext cx="12192000" cy="0"/>
          </a:xfrm>
          <a:prstGeom prst="line">
            <a:avLst/>
          </a:prstGeom>
          <a:ln w="1270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Textplatzhalter 18"/>
          <p:cNvSpPr>
            <a:spLocks noGrp="1"/>
          </p:cNvSpPr>
          <p:nvPr>
            <p:ph type="body" sz="quarter" idx="11"/>
          </p:nvPr>
        </p:nvSpPr>
        <p:spPr>
          <a:xfrm>
            <a:off x="469113" y="2640129"/>
            <a:ext cx="5412316" cy="1477328"/>
          </a:xfrm>
        </p:spPr>
        <p:txBody>
          <a:bodyPr wrap="square">
            <a:spAutoFit/>
          </a:bodyPr>
          <a:lstStyle>
            <a:lvl1pPr marL="0" indent="0">
              <a:buNone/>
              <a:defRPr sz="4800">
                <a:solidFill>
                  <a:schemeClr val="bg1"/>
                </a:solidFill>
                <a:latin typeface="BISansCond" panose="02000006050000020004" pitchFamily="2" charset="0"/>
              </a:defRPr>
            </a:lvl1pPr>
          </a:lstStyle>
          <a:p>
            <a:pPr lvl="0"/>
            <a:r>
              <a:rPr lang="en-US" altLang="zh-TW" noProof="0"/>
              <a:t>Click to edit Master text styles</a:t>
            </a:r>
          </a:p>
        </p:txBody>
      </p:sp>
      <p:sp>
        <p:nvSpPr>
          <p:cNvPr id="20" name="Textplatzhalter 18"/>
          <p:cNvSpPr>
            <a:spLocks noGrp="1"/>
          </p:cNvSpPr>
          <p:nvPr>
            <p:ph type="body" sz="quarter" idx="12"/>
          </p:nvPr>
        </p:nvSpPr>
        <p:spPr>
          <a:xfrm>
            <a:off x="469105" y="3718148"/>
            <a:ext cx="3939523" cy="369332"/>
          </a:xfrm>
        </p:spPr>
        <p:txBody>
          <a:bodyPr wrap="square">
            <a:spAutoFit/>
          </a:bodyPr>
          <a:lstStyle>
            <a:lvl1pPr marL="0" indent="0">
              <a:buNone/>
              <a:defRPr sz="2400">
                <a:solidFill>
                  <a:schemeClr val="bg1"/>
                </a:solidFill>
                <a:latin typeface="BISansCond" panose="02000006050000020004" pitchFamily="2" charset="0"/>
              </a:defRPr>
            </a:lvl1pPr>
          </a:lstStyle>
          <a:p>
            <a:pPr lvl="0"/>
            <a:r>
              <a:rPr lang="en-US" altLang="zh-TW" noProof="0"/>
              <a:t>Click to edit Master text styles</a:t>
            </a:r>
          </a:p>
        </p:txBody>
      </p:sp>
      <p:cxnSp>
        <p:nvCxnSpPr>
          <p:cNvPr id="13" name="Gerade Verbindung 12"/>
          <p:cNvCxnSpPr/>
          <p:nvPr userDrawn="1"/>
        </p:nvCxnSpPr>
        <p:spPr>
          <a:xfrm>
            <a:off x="0" y="2492389"/>
            <a:ext cx="12192000" cy="0"/>
          </a:xfrm>
          <a:prstGeom prst="line">
            <a:avLst/>
          </a:prstGeom>
          <a:ln w="1270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Textplatzhalter 24"/>
          <p:cNvSpPr>
            <a:spLocks noGrp="1"/>
          </p:cNvSpPr>
          <p:nvPr>
            <p:ph type="body" sz="quarter" idx="14" hasCustomPrompt="1"/>
          </p:nvPr>
        </p:nvSpPr>
        <p:spPr>
          <a:xfrm>
            <a:off x="6088023" y="970175"/>
            <a:ext cx="3691200" cy="2768400"/>
          </a:xfrm>
          <a:prstGeom prst="ellipse">
            <a:avLst/>
          </a:prstGeom>
          <a:gradFill>
            <a:gsLst>
              <a:gs pos="0">
                <a:schemeClr val="bg1"/>
              </a:gs>
              <a:gs pos="100000">
                <a:schemeClr val="bg1">
                  <a:alpha val="59000"/>
                </a:schemeClr>
              </a:gs>
            </a:gsLst>
            <a:lin ang="9000000" scaled="0"/>
          </a:gradFill>
          <a:ln>
            <a:noFill/>
          </a:ln>
        </p:spPr>
        <p:txBody>
          <a:bodyPr anchor="ctr" anchorCtr="0"/>
          <a:lstStyle>
            <a:lvl1pPr marL="0" indent="0" algn="ctr">
              <a:spcBef>
                <a:spcPts val="0"/>
              </a:spcBef>
              <a:buNone/>
              <a:defRPr sz="2400">
                <a:solidFill>
                  <a:srgbClr val="003366"/>
                </a:solidFill>
                <a:latin typeface="BISansCond" panose="02000006050000020004" pitchFamily="2" charset="0"/>
              </a:defRPr>
            </a:lvl1pPr>
          </a:lstStyle>
          <a:p>
            <a:pPr lvl="0"/>
            <a:r>
              <a:rPr lang="en-GB" noProof="0" dirty="0" err="1"/>
              <a:t>Textmaster</a:t>
            </a:r>
            <a:r>
              <a:rPr lang="en-GB" noProof="0" dirty="0"/>
              <a:t>-format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  <p:sp>
        <p:nvSpPr>
          <p:cNvPr id="23" name="Bildplatzhalter 22"/>
          <p:cNvSpPr>
            <a:spLocks noGrp="1"/>
          </p:cNvSpPr>
          <p:nvPr>
            <p:ph type="pic" sz="quarter" idx="13"/>
          </p:nvPr>
        </p:nvSpPr>
        <p:spPr>
          <a:xfrm>
            <a:off x="5799691" y="3500533"/>
            <a:ext cx="3014400" cy="2260800"/>
          </a:xfrm>
          <a:prstGeom prst="ellipse">
            <a:avLst/>
          </a:prstGeom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n-US" altLang="zh-TW" noProof="0"/>
              <a:t>Click icon to add picture</a:t>
            </a:r>
            <a:endParaRPr lang="en-GB" noProof="0" dirty="0"/>
          </a:p>
        </p:txBody>
      </p: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26265" y="6120399"/>
            <a:ext cx="1679601" cy="381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77263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page_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 userDrawn="1"/>
        </p:nvSpPr>
        <p:spPr>
          <a:xfrm>
            <a:off x="0" y="2928500"/>
            <a:ext cx="12192000" cy="3929507"/>
          </a:xfrm>
          <a:prstGeom prst="rect">
            <a:avLst/>
          </a:prstGeom>
          <a:gradFill>
            <a:gsLst>
              <a:gs pos="0">
                <a:srgbClr val="6699CC">
                  <a:alpha val="40000"/>
                </a:srgbClr>
              </a:gs>
              <a:gs pos="100000">
                <a:srgbClr val="FFFFFF"/>
              </a:gs>
            </a:gsLst>
            <a:lin ang="162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sz="1400" dirty="0">
              <a:solidFill>
                <a:prstClr val="black"/>
              </a:solidFill>
            </a:endParaRPr>
          </a:p>
        </p:txBody>
      </p:sp>
      <p:cxnSp>
        <p:nvCxnSpPr>
          <p:cNvPr id="5" name="Gerade Verbindung 4"/>
          <p:cNvCxnSpPr/>
          <p:nvPr userDrawn="1"/>
        </p:nvCxnSpPr>
        <p:spPr>
          <a:xfrm>
            <a:off x="0" y="971453"/>
            <a:ext cx="12192000" cy="0"/>
          </a:xfrm>
          <a:prstGeom prst="line">
            <a:avLst/>
          </a:prstGeom>
          <a:ln w="12700">
            <a:solidFill>
              <a:srgbClr val="0033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5924" y="6578989"/>
            <a:ext cx="840360" cy="190511"/>
          </a:xfrm>
          <a:prstGeom prst="rect">
            <a:avLst/>
          </a:prstGeom>
        </p:spPr>
      </p:pic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/>
              <a:t>Click to edit Master title styl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8F670B-D7B9-419C-9EDC-EEA2E815864B}" type="datetime1">
              <a:rPr lang="en-GB" smtClean="0">
                <a:solidFill>
                  <a:prstClr val="white">
                    <a:lumMod val="50000"/>
                  </a:prstClr>
                </a:solidFill>
              </a:rPr>
              <a:pPr/>
              <a:t>14/12/2021</a:t>
            </a:fld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3B55C4-4F5A-416B-997D-6CE47EB0A945}" type="slidenum">
              <a:rPr lang="en-GB" smtClean="0">
                <a:solidFill>
                  <a:prstClr val="white">
                    <a:lumMod val="50000"/>
                  </a:prstClr>
                </a:solidFill>
              </a:rPr>
              <a:pPr/>
              <a:t>‹#›</a:t>
            </a:fld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03283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page_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11"/>
          <p:cNvSpPr/>
          <p:nvPr userDrawn="1"/>
        </p:nvSpPr>
        <p:spPr>
          <a:xfrm>
            <a:off x="0" y="2928500"/>
            <a:ext cx="12192000" cy="3929507"/>
          </a:xfrm>
          <a:prstGeom prst="rect">
            <a:avLst/>
          </a:prstGeom>
          <a:gradFill>
            <a:gsLst>
              <a:gs pos="0">
                <a:srgbClr val="6699CC">
                  <a:alpha val="40000"/>
                </a:srgbClr>
              </a:gs>
              <a:gs pos="100000">
                <a:srgbClr val="FFFFFF"/>
              </a:gs>
            </a:gsLst>
            <a:lin ang="162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sz="1400" dirty="0">
              <a:solidFill>
                <a:prstClr val="black"/>
              </a:solidFill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altLang="zh-TW" noProof="0"/>
              <a:t>Click to edit Master text styles</a:t>
            </a:r>
          </a:p>
          <a:p>
            <a:pPr lvl="1"/>
            <a:r>
              <a:rPr lang="en-US" altLang="zh-TW" noProof="0"/>
              <a:t>Second level</a:t>
            </a:r>
          </a:p>
          <a:p>
            <a:pPr lvl="2"/>
            <a:r>
              <a:rPr lang="en-US" altLang="zh-TW" noProof="0"/>
              <a:t>Third level</a:t>
            </a:r>
          </a:p>
          <a:p>
            <a:pPr lvl="3"/>
            <a:r>
              <a:rPr lang="en-US" altLang="zh-TW" noProof="0"/>
              <a:t>Fourth level</a:t>
            </a:r>
          </a:p>
          <a:p>
            <a:pPr lvl="4"/>
            <a:r>
              <a:rPr lang="en-US" altLang="zh-TW" noProof="0"/>
              <a:t>Fifth level</a:t>
            </a:r>
            <a:endParaRPr lang="en-GB" noProof="0" dirty="0"/>
          </a:p>
        </p:txBody>
      </p:sp>
      <p:cxnSp>
        <p:nvCxnSpPr>
          <p:cNvPr id="5" name="Gerade Verbindung 4"/>
          <p:cNvCxnSpPr/>
          <p:nvPr/>
        </p:nvCxnSpPr>
        <p:spPr>
          <a:xfrm>
            <a:off x="0" y="971453"/>
            <a:ext cx="12192000" cy="0"/>
          </a:xfrm>
          <a:prstGeom prst="line">
            <a:avLst/>
          </a:prstGeom>
          <a:ln w="12700">
            <a:solidFill>
              <a:srgbClr val="0033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10"/>
          <p:cNvCxnSpPr/>
          <p:nvPr userDrawn="1"/>
        </p:nvCxnSpPr>
        <p:spPr>
          <a:xfrm>
            <a:off x="0" y="971453"/>
            <a:ext cx="12192000" cy="0"/>
          </a:xfrm>
          <a:prstGeom prst="line">
            <a:avLst/>
          </a:prstGeom>
          <a:ln w="12700">
            <a:solidFill>
              <a:srgbClr val="0033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5924" y="6578989"/>
            <a:ext cx="840360" cy="190511"/>
          </a:xfrm>
          <a:prstGeom prst="rect">
            <a:avLst/>
          </a:prstGeom>
        </p:spPr>
      </p:pic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0DDFAE-3DA3-4218-ADED-A2CB89D0520B}" type="datetime1">
              <a:rPr lang="en-GB" smtClean="0">
                <a:solidFill>
                  <a:prstClr val="white">
                    <a:lumMod val="50000"/>
                  </a:prstClr>
                </a:solidFill>
              </a:rPr>
              <a:pPr/>
              <a:t>14/12/2021</a:t>
            </a:fld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3B55C4-4F5A-416B-997D-6CE47EB0A945}" type="slidenum">
              <a:rPr lang="en-GB" smtClean="0">
                <a:solidFill>
                  <a:prstClr val="white">
                    <a:lumMod val="50000"/>
                  </a:prstClr>
                </a:solidFill>
              </a:rPr>
              <a:pPr/>
              <a:t>‹#›</a:t>
            </a:fld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4" name="Titel 13"/>
          <p:cNvSpPr>
            <a:spLocks noGrp="1"/>
          </p:cNvSpPr>
          <p:nvPr>
            <p:ph type="title"/>
          </p:nvPr>
        </p:nvSpPr>
        <p:spPr>
          <a:xfrm>
            <a:off x="490100" y="153349"/>
            <a:ext cx="11211800" cy="553998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 altLang="zh-TW"/>
              <a:t>Click to edit Master title sty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939767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page_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11"/>
          <p:cNvSpPr/>
          <p:nvPr userDrawn="1"/>
        </p:nvSpPr>
        <p:spPr>
          <a:xfrm>
            <a:off x="0" y="2928500"/>
            <a:ext cx="12192000" cy="3929507"/>
          </a:xfrm>
          <a:prstGeom prst="rect">
            <a:avLst/>
          </a:prstGeom>
          <a:gradFill>
            <a:gsLst>
              <a:gs pos="0">
                <a:srgbClr val="6699CC">
                  <a:alpha val="40000"/>
                </a:srgbClr>
              </a:gs>
              <a:gs pos="100000">
                <a:srgbClr val="FFFFFF"/>
              </a:gs>
            </a:gsLst>
            <a:lin ang="162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sz="1400" dirty="0">
              <a:solidFill>
                <a:prstClr val="black"/>
              </a:solidFill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altLang="zh-TW" noProof="0"/>
              <a:t>Click to edit Master text styles</a:t>
            </a:r>
          </a:p>
          <a:p>
            <a:pPr lvl="1"/>
            <a:r>
              <a:rPr lang="en-US" altLang="zh-TW" noProof="0"/>
              <a:t>Second level</a:t>
            </a:r>
          </a:p>
          <a:p>
            <a:pPr lvl="2"/>
            <a:r>
              <a:rPr lang="en-US" altLang="zh-TW" noProof="0"/>
              <a:t>Third level</a:t>
            </a:r>
          </a:p>
          <a:p>
            <a:pPr lvl="3"/>
            <a:r>
              <a:rPr lang="en-US" altLang="zh-TW" noProof="0"/>
              <a:t>Fourth level</a:t>
            </a:r>
          </a:p>
          <a:p>
            <a:pPr lvl="4"/>
            <a:r>
              <a:rPr lang="en-US" altLang="zh-TW" noProof="0"/>
              <a:t>Fifth level</a:t>
            </a:r>
            <a:endParaRPr lang="en-GB" noProof="0" dirty="0"/>
          </a:p>
        </p:txBody>
      </p:sp>
      <p:cxnSp>
        <p:nvCxnSpPr>
          <p:cNvPr id="5" name="Gerade Verbindung 4"/>
          <p:cNvCxnSpPr/>
          <p:nvPr/>
        </p:nvCxnSpPr>
        <p:spPr>
          <a:xfrm>
            <a:off x="0" y="971453"/>
            <a:ext cx="12192000" cy="0"/>
          </a:xfrm>
          <a:prstGeom prst="line">
            <a:avLst/>
          </a:prstGeom>
          <a:ln w="12700">
            <a:solidFill>
              <a:srgbClr val="0033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10"/>
          <p:cNvCxnSpPr/>
          <p:nvPr userDrawn="1"/>
        </p:nvCxnSpPr>
        <p:spPr>
          <a:xfrm>
            <a:off x="0" y="971453"/>
            <a:ext cx="12192000" cy="0"/>
          </a:xfrm>
          <a:prstGeom prst="line">
            <a:avLst/>
          </a:prstGeom>
          <a:ln w="12700">
            <a:solidFill>
              <a:srgbClr val="0033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5924" y="6578989"/>
            <a:ext cx="840360" cy="190511"/>
          </a:xfrm>
          <a:prstGeom prst="rect">
            <a:avLst/>
          </a:prstGeom>
        </p:spPr>
      </p:pic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/>
              <a:t>Click to edit Master title style</a:t>
            </a:r>
            <a:endParaRPr lang="de-DE"/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0DDFAE-3DA3-4218-ADED-A2CB89D0520B}" type="datetime1">
              <a:rPr lang="en-GB" smtClean="0">
                <a:solidFill>
                  <a:prstClr val="white">
                    <a:lumMod val="50000"/>
                  </a:prstClr>
                </a:solidFill>
              </a:rPr>
              <a:pPr/>
              <a:t>14/12/2021</a:t>
            </a:fld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3B55C4-4F5A-416B-997D-6CE47EB0A945}" type="slidenum">
              <a:rPr lang="en-GB" smtClean="0">
                <a:solidFill>
                  <a:prstClr val="white">
                    <a:lumMod val="50000"/>
                  </a:prstClr>
                </a:solidFill>
              </a:rPr>
              <a:pPr/>
              <a:t>‹#›</a:t>
            </a:fld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003620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page_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11"/>
          <p:cNvSpPr/>
          <p:nvPr userDrawn="1"/>
        </p:nvSpPr>
        <p:spPr>
          <a:xfrm>
            <a:off x="0" y="2928500"/>
            <a:ext cx="12192000" cy="3929507"/>
          </a:xfrm>
          <a:prstGeom prst="rect">
            <a:avLst/>
          </a:prstGeom>
          <a:gradFill>
            <a:gsLst>
              <a:gs pos="0">
                <a:srgbClr val="6699CC">
                  <a:alpha val="40000"/>
                </a:srgbClr>
              </a:gs>
              <a:gs pos="100000">
                <a:srgbClr val="FFFFFF"/>
              </a:gs>
            </a:gsLst>
            <a:lin ang="162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sz="1400" dirty="0">
              <a:solidFill>
                <a:prstClr val="black"/>
              </a:solidFill>
            </a:endParaRPr>
          </a:p>
        </p:txBody>
      </p:sp>
      <p:cxnSp>
        <p:nvCxnSpPr>
          <p:cNvPr id="5" name="Gerade Verbindung 4"/>
          <p:cNvCxnSpPr/>
          <p:nvPr/>
        </p:nvCxnSpPr>
        <p:spPr>
          <a:xfrm>
            <a:off x="0" y="971453"/>
            <a:ext cx="12192000" cy="0"/>
          </a:xfrm>
          <a:prstGeom prst="line">
            <a:avLst/>
          </a:prstGeom>
          <a:ln w="12700">
            <a:solidFill>
              <a:srgbClr val="0033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10"/>
          <p:cNvCxnSpPr/>
          <p:nvPr userDrawn="1"/>
        </p:nvCxnSpPr>
        <p:spPr>
          <a:xfrm>
            <a:off x="0" y="971453"/>
            <a:ext cx="12192000" cy="0"/>
          </a:xfrm>
          <a:prstGeom prst="line">
            <a:avLst/>
          </a:prstGeom>
          <a:ln w="12700">
            <a:solidFill>
              <a:srgbClr val="0033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Inhaltsplatzhalter 2"/>
          <p:cNvSpPr>
            <a:spLocks noGrp="1"/>
          </p:cNvSpPr>
          <p:nvPr>
            <p:ph idx="1"/>
          </p:nvPr>
        </p:nvSpPr>
        <p:spPr>
          <a:xfrm>
            <a:off x="2362102" y="1600206"/>
            <a:ext cx="7488001" cy="4525963"/>
          </a:xfrm>
        </p:spPr>
        <p:txBody>
          <a:bodyPr/>
          <a:lstStyle>
            <a:lvl1pPr marL="0" indent="0">
              <a:spcBef>
                <a:spcPts val="600"/>
              </a:spcBef>
              <a:buNone/>
              <a:defRPr/>
            </a:lvl1pPr>
            <a:lvl2pPr marL="182563" indent="-182563">
              <a:spcBef>
                <a:spcPts val="600"/>
              </a:spcBef>
              <a:buFont typeface="BISans" panose="02000503040000020004" pitchFamily="2" charset="0"/>
              <a:buChar char="•"/>
              <a:defRPr/>
            </a:lvl2pPr>
            <a:lvl3pPr marL="358775" indent="-176213">
              <a:buFont typeface="Arial" panose="020B0604020202020204" pitchFamily="34" charset="0"/>
              <a:buChar char="–"/>
              <a:defRPr/>
            </a:lvl3pPr>
          </a:lstStyle>
          <a:p>
            <a:pPr lvl="0"/>
            <a:r>
              <a:rPr lang="en-US" altLang="zh-TW" noProof="0"/>
              <a:t>Click to edit Master text styles</a:t>
            </a:r>
          </a:p>
          <a:p>
            <a:pPr lvl="1"/>
            <a:r>
              <a:rPr lang="en-US" altLang="zh-TW" noProof="0"/>
              <a:t>Second level</a:t>
            </a:r>
          </a:p>
          <a:p>
            <a:pPr lvl="2"/>
            <a:r>
              <a:rPr lang="en-US" altLang="zh-TW" noProof="0"/>
              <a:t>Third level</a:t>
            </a:r>
          </a:p>
        </p:txBody>
      </p: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5924" y="6578989"/>
            <a:ext cx="840360" cy="190511"/>
          </a:xfrm>
          <a:prstGeom prst="rect">
            <a:avLst/>
          </a:prstGeom>
        </p:spPr>
      </p:pic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96B648-F09C-46E0-BD0F-02867C1BCA59}" type="datetime1">
              <a:rPr lang="en-GB" smtClean="0">
                <a:solidFill>
                  <a:prstClr val="white">
                    <a:lumMod val="50000"/>
                  </a:prstClr>
                </a:solidFill>
              </a:rPr>
              <a:pPr/>
              <a:t>14/12/2021</a:t>
            </a:fld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3B55C4-4F5A-416B-997D-6CE47EB0A945}" type="slidenum">
              <a:rPr lang="en-GB" smtClean="0">
                <a:solidFill>
                  <a:prstClr val="white">
                    <a:lumMod val="50000"/>
                  </a:prstClr>
                </a:solidFill>
              </a:rPr>
              <a:pPr/>
              <a:t>‹#›</a:t>
            </a:fld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/>
              <a:t>Click to edit Master title styl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716630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gram slide_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hteck 13"/>
          <p:cNvSpPr/>
          <p:nvPr userDrawn="1"/>
        </p:nvSpPr>
        <p:spPr>
          <a:xfrm>
            <a:off x="0" y="2928500"/>
            <a:ext cx="12192000" cy="3929507"/>
          </a:xfrm>
          <a:prstGeom prst="rect">
            <a:avLst/>
          </a:prstGeom>
          <a:gradFill>
            <a:gsLst>
              <a:gs pos="0">
                <a:srgbClr val="6699CC">
                  <a:alpha val="40000"/>
                </a:srgbClr>
              </a:gs>
              <a:gs pos="100000">
                <a:srgbClr val="FFFFFF"/>
              </a:gs>
            </a:gsLst>
            <a:lin ang="162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sz="1400" dirty="0">
              <a:solidFill>
                <a:prstClr val="black"/>
              </a:solidFill>
            </a:endParaRPr>
          </a:p>
        </p:txBody>
      </p:sp>
      <p:sp>
        <p:nvSpPr>
          <p:cNvPr id="15" name="Rechteck 14"/>
          <p:cNvSpPr/>
          <p:nvPr userDrawn="1"/>
        </p:nvSpPr>
        <p:spPr>
          <a:xfrm>
            <a:off x="0" y="1380796"/>
            <a:ext cx="12192000" cy="3929507"/>
          </a:xfrm>
          <a:prstGeom prst="rect">
            <a:avLst/>
          </a:prstGeom>
          <a:gradFill>
            <a:gsLst>
              <a:gs pos="0">
                <a:srgbClr val="6699CC">
                  <a:alpha val="40000"/>
                </a:srgbClr>
              </a:gs>
              <a:gs pos="100000">
                <a:srgbClr val="FFFFFF"/>
              </a:gs>
            </a:gsLst>
            <a:lin ang="162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sz="1400" dirty="0">
              <a:solidFill>
                <a:prstClr val="black"/>
              </a:solidFill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90102" y="1600203"/>
            <a:ext cx="3912567" cy="3710092"/>
          </a:xfrm>
        </p:spPr>
        <p:txBody>
          <a:bodyPr/>
          <a:lstStyle/>
          <a:p>
            <a:pPr lvl="0"/>
            <a:r>
              <a:rPr lang="en-US" altLang="zh-TW" noProof="0"/>
              <a:t>Click to edit Master text styles</a:t>
            </a:r>
          </a:p>
          <a:p>
            <a:pPr lvl="1"/>
            <a:r>
              <a:rPr lang="en-US" altLang="zh-TW" noProof="0"/>
              <a:t>Second level</a:t>
            </a:r>
          </a:p>
          <a:p>
            <a:pPr lvl="2"/>
            <a:r>
              <a:rPr lang="en-US" altLang="zh-TW" noProof="0"/>
              <a:t>Third level</a:t>
            </a:r>
          </a:p>
          <a:p>
            <a:pPr lvl="3"/>
            <a:r>
              <a:rPr lang="en-US" altLang="zh-TW" noProof="0"/>
              <a:t>Fourth level</a:t>
            </a:r>
          </a:p>
          <a:p>
            <a:pPr lvl="4"/>
            <a:r>
              <a:rPr lang="en-US" altLang="zh-TW" noProof="0"/>
              <a:t>Fifth level</a:t>
            </a:r>
            <a:endParaRPr lang="en-GB" noProof="0" dirty="0"/>
          </a:p>
        </p:txBody>
      </p:sp>
      <p:cxnSp>
        <p:nvCxnSpPr>
          <p:cNvPr id="5" name="Gerade Verbindung 4"/>
          <p:cNvCxnSpPr/>
          <p:nvPr/>
        </p:nvCxnSpPr>
        <p:spPr>
          <a:xfrm>
            <a:off x="0" y="971453"/>
            <a:ext cx="12192000" cy="0"/>
          </a:xfrm>
          <a:prstGeom prst="line">
            <a:avLst/>
          </a:prstGeom>
          <a:ln w="12700">
            <a:solidFill>
              <a:srgbClr val="0033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12"/>
          <p:cNvCxnSpPr/>
          <p:nvPr userDrawn="1"/>
        </p:nvCxnSpPr>
        <p:spPr>
          <a:xfrm>
            <a:off x="0" y="971453"/>
            <a:ext cx="12192000" cy="0"/>
          </a:xfrm>
          <a:prstGeom prst="line">
            <a:avLst/>
          </a:prstGeom>
          <a:ln w="12700">
            <a:solidFill>
              <a:srgbClr val="0033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5924" y="6578989"/>
            <a:ext cx="840360" cy="190511"/>
          </a:xfrm>
          <a:prstGeom prst="rect">
            <a:avLst/>
          </a:prstGeom>
        </p:spPr>
      </p:pic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5750B4-0A56-4E6B-AADC-5777FA1C2983}" type="datetime1">
              <a:rPr lang="en-GB" smtClean="0">
                <a:solidFill>
                  <a:prstClr val="white">
                    <a:lumMod val="50000"/>
                  </a:prstClr>
                </a:solidFill>
              </a:rPr>
              <a:pPr/>
              <a:t>14/12/2021</a:t>
            </a:fld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3B55C4-4F5A-416B-997D-6CE47EB0A945}" type="slidenum">
              <a:rPr lang="en-GB" smtClean="0">
                <a:solidFill>
                  <a:prstClr val="white">
                    <a:lumMod val="50000"/>
                  </a:prstClr>
                </a:solidFill>
              </a:rPr>
              <a:pPr/>
              <a:t>‹#›</a:t>
            </a:fld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/>
              <a:t>Click to edit Master title styl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146744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lide_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11"/>
          <p:cNvSpPr/>
          <p:nvPr userDrawn="1"/>
        </p:nvSpPr>
        <p:spPr>
          <a:xfrm>
            <a:off x="0" y="2928500"/>
            <a:ext cx="12192000" cy="3929507"/>
          </a:xfrm>
          <a:prstGeom prst="rect">
            <a:avLst/>
          </a:prstGeom>
          <a:gradFill>
            <a:gsLst>
              <a:gs pos="0">
                <a:srgbClr val="6699CC">
                  <a:alpha val="40000"/>
                </a:srgbClr>
              </a:gs>
              <a:gs pos="100000">
                <a:srgbClr val="FFFFFF"/>
              </a:gs>
            </a:gsLst>
            <a:lin ang="162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sz="1400" dirty="0">
              <a:solidFill>
                <a:prstClr val="black"/>
              </a:solidFill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2362110" y="1935251"/>
            <a:ext cx="6754212" cy="1231106"/>
          </a:xfrm>
        </p:spPr>
        <p:txBody>
          <a:bodyPr>
            <a:sp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altLang="zh-TW" noProof="0"/>
              <a:t>Click to edit Master text styles</a:t>
            </a:r>
          </a:p>
          <a:p>
            <a:pPr lvl="1"/>
            <a:r>
              <a:rPr lang="en-US" altLang="zh-TW" noProof="0"/>
              <a:t>Second level</a:t>
            </a:r>
          </a:p>
          <a:p>
            <a:pPr lvl="2"/>
            <a:r>
              <a:rPr lang="en-US" altLang="zh-TW" noProof="0"/>
              <a:t>Third level</a:t>
            </a:r>
          </a:p>
          <a:p>
            <a:pPr lvl="3"/>
            <a:r>
              <a:rPr lang="en-US" altLang="zh-TW" noProof="0"/>
              <a:t>Fourth level</a:t>
            </a:r>
          </a:p>
          <a:p>
            <a:pPr lvl="4"/>
            <a:r>
              <a:rPr lang="en-US" altLang="zh-TW" noProof="0"/>
              <a:t>Fifth level</a:t>
            </a:r>
            <a:endParaRPr lang="en-GB" noProof="0" dirty="0"/>
          </a:p>
        </p:txBody>
      </p:sp>
      <p:sp>
        <p:nvSpPr>
          <p:cNvPr id="15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-226475" y="1038415"/>
            <a:ext cx="2318400" cy="1738800"/>
          </a:xfrm>
          <a:prstGeom prst="ellipse">
            <a:avLst/>
          </a:prstGeom>
          <a:solidFill>
            <a:srgbClr val="6699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>
            <a:lvl1pPr marL="0" indent="0" algn="ctr">
              <a:buNone/>
              <a:defRPr lang="en-US" sz="2000" dirty="0" smtClean="0">
                <a:solidFill>
                  <a:schemeClr val="bg1"/>
                </a:solidFill>
                <a:latin typeface="+mj-lt"/>
              </a:defRPr>
            </a:lvl1pPr>
          </a:lstStyle>
          <a:p>
            <a:pPr marL="0" lvl="0" algn="ctr"/>
            <a:r>
              <a:rPr lang="en-GB" noProof="0" dirty="0"/>
              <a:t>Add. info [font size variable]</a:t>
            </a:r>
          </a:p>
        </p:txBody>
      </p:sp>
      <p:cxnSp>
        <p:nvCxnSpPr>
          <p:cNvPr id="6" name="Gerade Verbindung 5"/>
          <p:cNvCxnSpPr/>
          <p:nvPr/>
        </p:nvCxnSpPr>
        <p:spPr>
          <a:xfrm>
            <a:off x="0" y="1691647"/>
            <a:ext cx="12192000" cy="0"/>
          </a:xfrm>
          <a:prstGeom prst="line">
            <a:avLst/>
          </a:prstGeom>
          <a:ln w="12700">
            <a:solidFill>
              <a:srgbClr val="FF99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10"/>
          <p:cNvCxnSpPr/>
          <p:nvPr userDrawn="1"/>
        </p:nvCxnSpPr>
        <p:spPr>
          <a:xfrm>
            <a:off x="0" y="1691647"/>
            <a:ext cx="12192000" cy="0"/>
          </a:xfrm>
          <a:prstGeom prst="line">
            <a:avLst/>
          </a:prstGeom>
          <a:ln w="12700">
            <a:solidFill>
              <a:srgbClr val="FF99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5924" y="6578989"/>
            <a:ext cx="840360" cy="190511"/>
          </a:xfrm>
          <a:prstGeom prst="rect">
            <a:avLst/>
          </a:prstGeom>
        </p:spPr>
      </p:pic>
      <p:sp>
        <p:nvSpPr>
          <p:cNvPr id="4" name="Datumsplatzhalter 3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296EA654-ECD7-471A-8536-99948A30C4BB}" type="datetime1">
              <a:rPr lang="en-GB" smtClean="0">
                <a:solidFill>
                  <a:prstClr val="white">
                    <a:lumMod val="50000"/>
                  </a:prstClr>
                </a:solidFill>
              </a:rPr>
              <a:pPr/>
              <a:t>14/12/2021</a:t>
            </a:fld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143B55C4-4F5A-416B-997D-6CE47EB0A945}" type="slidenum">
              <a:rPr lang="en-GB" smtClean="0">
                <a:solidFill>
                  <a:prstClr val="white">
                    <a:lumMod val="50000"/>
                  </a:prstClr>
                </a:solidFill>
              </a:rPr>
              <a:pPr/>
              <a:t>‹#›</a:t>
            </a:fld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2362102" y="756761"/>
            <a:ext cx="6754213" cy="369332"/>
          </a:xfrm>
        </p:spPr>
        <p:txBody>
          <a:bodyPr/>
          <a:lstStyle/>
          <a:p>
            <a:r>
              <a:rPr lang="en-US" altLang="zh-TW"/>
              <a:t>Click to edit Master title sty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173381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rganisational chart_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/>
          <p:cNvSpPr/>
          <p:nvPr userDrawn="1"/>
        </p:nvSpPr>
        <p:spPr>
          <a:xfrm>
            <a:off x="0" y="2928500"/>
            <a:ext cx="12192000" cy="3929507"/>
          </a:xfrm>
          <a:prstGeom prst="rect">
            <a:avLst/>
          </a:prstGeom>
          <a:gradFill>
            <a:gsLst>
              <a:gs pos="0">
                <a:srgbClr val="6699CC">
                  <a:alpha val="40000"/>
                </a:srgbClr>
              </a:gs>
              <a:gs pos="100000">
                <a:srgbClr val="FFFFFF"/>
              </a:gs>
            </a:gsLst>
            <a:lin ang="162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sz="1400" dirty="0">
              <a:solidFill>
                <a:prstClr val="black"/>
              </a:solidFill>
            </a:endParaRPr>
          </a:p>
        </p:txBody>
      </p:sp>
      <p:cxnSp>
        <p:nvCxnSpPr>
          <p:cNvPr id="5" name="Gerade Verbindung 4"/>
          <p:cNvCxnSpPr/>
          <p:nvPr/>
        </p:nvCxnSpPr>
        <p:spPr>
          <a:xfrm>
            <a:off x="0" y="2492389"/>
            <a:ext cx="12192000" cy="0"/>
          </a:xfrm>
          <a:prstGeom prst="line">
            <a:avLst/>
          </a:prstGeom>
          <a:ln w="12700">
            <a:solidFill>
              <a:srgbClr val="6699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Gerade Verbindung 9"/>
          <p:cNvCxnSpPr/>
          <p:nvPr userDrawn="1"/>
        </p:nvCxnSpPr>
        <p:spPr>
          <a:xfrm>
            <a:off x="0" y="2492389"/>
            <a:ext cx="12192000" cy="0"/>
          </a:xfrm>
          <a:prstGeom prst="line">
            <a:avLst/>
          </a:prstGeom>
          <a:ln w="12700">
            <a:solidFill>
              <a:srgbClr val="6699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5924" y="6578989"/>
            <a:ext cx="840360" cy="190511"/>
          </a:xfrm>
          <a:prstGeom prst="rect">
            <a:avLst/>
          </a:prstGeom>
        </p:spPr>
      </p:pic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D98D82-2CA0-4C64-8F52-ED1E564820AE}" type="datetime1">
              <a:rPr lang="en-GB" smtClean="0">
                <a:solidFill>
                  <a:prstClr val="white">
                    <a:lumMod val="50000"/>
                  </a:prstClr>
                </a:solidFill>
              </a:rPr>
              <a:pPr/>
              <a:t>14/12/2021</a:t>
            </a:fld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3B55C4-4F5A-416B-997D-6CE47EB0A945}" type="slidenum">
              <a:rPr lang="en-GB" smtClean="0">
                <a:solidFill>
                  <a:prstClr val="white">
                    <a:lumMod val="50000"/>
                  </a:prstClr>
                </a:solidFill>
              </a:rPr>
              <a:pPr/>
              <a:t>‹#›</a:t>
            </a:fld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/>
              <a:t>Click to edit Master title styl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705829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Calibri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Calibri" pitchFamily="34" charset="0"/>
              </a:defRPr>
            </a:lvl1pPr>
          </a:lstStyle>
          <a:p>
            <a:r>
              <a:rPr lang="en-US" dirty="0"/>
              <a:t> Business Review Template - Confidential</a:t>
            </a:r>
          </a:p>
        </p:txBody>
      </p:sp>
    </p:spTree>
    <p:extLst>
      <p:ext uri="{BB962C8B-B14F-4D97-AF65-F5344CB8AC3E}">
        <p14:creationId xmlns:p14="http://schemas.microsoft.com/office/powerpoint/2010/main" val="1865506362"/>
      </p:ext>
    </p:extLst>
  </p:cSld>
  <p:clrMapOvr>
    <a:masterClrMapping/>
  </p:clrMapOvr>
  <p:transition spd="med"/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-al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 userDrawn="1"/>
        </p:nvSpPr>
        <p:spPr>
          <a:xfrm>
            <a:off x="0" y="2928500"/>
            <a:ext cx="12192000" cy="3929507"/>
          </a:xfrm>
          <a:prstGeom prst="rect">
            <a:avLst/>
          </a:prstGeom>
          <a:gradFill>
            <a:gsLst>
              <a:gs pos="0">
                <a:srgbClr val="6699CC">
                  <a:alpha val="40000"/>
                </a:srgbClr>
              </a:gs>
              <a:gs pos="100000">
                <a:srgbClr val="FFFFFF"/>
              </a:gs>
            </a:gsLst>
            <a:lin ang="162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sz="1400" dirty="0">
              <a:solidFill>
                <a:prstClr val="black"/>
              </a:solidFill>
            </a:endParaRP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C471A6-68F5-46F4-AB55-274B9534F60C}" type="datetime1">
              <a:rPr lang="en-GB" smtClean="0">
                <a:solidFill>
                  <a:prstClr val="white">
                    <a:lumMod val="50000"/>
                  </a:prstClr>
                </a:solidFill>
              </a:rPr>
              <a:pPr/>
              <a:t>14/12/2021</a:t>
            </a:fld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3B55C4-4F5A-416B-997D-6CE47EB0A945}" type="slidenum">
              <a:rPr lang="en-GB" smtClean="0">
                <a:solidFill>
                  <a:prstClr val="white">
                    <a:lumMod val="50000"/>
                  </a:prstClr>
                </a:solidFill>
              </a:rPr>
              <a:pPr/>
              <a:t>‹#›</a:t>
            </a:fld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cxnSp>
        <p:nvCxnSpPr>
          <p:cNvPr id="7" name="Gerade Verbindung 6"/>
          <p:cNvCxnSpPr/>
          <p:nvPr userDrawn="1"/>
        </p:nvCxnSpPr>
        <p:spPr>
          <a:xfrm>
            <a:off x="0" y="971453"/>
            <a:ext cx="12192000" cy="0"/>
          </a:xfrm>
          <a:prstGeom prst="line">
            <a:avLst/>
          </a:prstGeom>
          <a:ln w="12700">
            <a:solidFill>
              <a:srgbClr val="0033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406642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36pt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90100" y="104583"/>
            <a:ext cx="11211800" cy="553998"/>
          </a:xfrm>
        </p:spPr>
        <p:txBody>
          <a:bodyPr/>
          <a:lstStyle>
            <a:lvl1pPr>
              <a:defRPr sz="3600">
                <a:solidFill>
                  <a:srgbClr val="003366"/>
                </a:solidFill>
              </a:defRPr>
            </a:lvl1pPr>
          </a:lstStyle>
          <a:p>
            <a:r>
              <a:rPr lang="en-US" altLang="zh-TW" noProof="0"/>
              <a:t>Click to edit Master title style</a:t>
            </a:r>
            <a:endParaRPr lang="en-GB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altLang="zh-TW" noProof="0"/>
              <a:t>Click to edit Master text styles</a:t>
            </a:r>
          </a:p>
          <a:p>
            <a:pPr lvl="1"/>
            <a:r>
              <a:rPr lang="en-US" altLang="zh-TW" noProof="0"/>
              <a:t>Second level</a:t>
            </a:r>
          </a:p>
          <a:p>
            <a:pPr lvl="2"/>
            <a:r>
              <a:rPr lang="en-US" altLang="zh-TW" noProof="0"/>
              <a:t>Third level</a:t>
            </a:r>
          </a:p>
          <a:p>
            <a:pPr lvl="3"/>
            <a:r>
              <a:rPr lang="en-US" altLang="zh-TW" noProof="0"/>
              <a:t>Fourth level</a:t>
            </a:r>
          </a:p>
          <a:p>
            <a:pPr lvl="4"/>
            <a:r>
              <a:rPr lang="en-US" altLang="zh-TW" noProof="0"/>
              <a:t>Fifth level</a:t>
            </a:r>
            <a:endParaRPr lang="en-GB" noProof="0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F327B5-4F46-4E52-AD59-88A207270947}" type="datetime1">
              <a:rPr lang="en-GB" smtClean="0">
                <a:solidFill>
                  <a:prstClr val="white">
                    <a:lumMod val="50000"/>
                  </a:prstClr>
                </a:solidFill>
              </a:rPr>
              <a:pPr/>
              <a:t>14/12/2021</a:t>
            </a:fld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3B55C4-4F5A-416B-997D-6CE47EB0A945}" type="slidenum">
              <a:rPr lang="en-GB" smtClean="0">
                <a:solidFill>
                  <a:prstClr val="white">
                    <a:lumMod val="50000"/>
                  </a:prstClr>
                </a:solidFill>
              </a:rPr>
              <a:pPr/>
              <a:t>‹#›</a:t>
            </a:fld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cxnSp>
        <p:nvCxnSpPr>
          <p:cNvPr id="7" name="Gerade Verbindung 6"/>
          <p:cNvCxnSpPr/>
          <p:nvPr userDrawn="1"/>
        </p:nvCxnSpPr>
        <p:spPr>
          <a:xfrm>
            <a:off x="0" y="971453"/>
            <a:ext cx="12192000" cy="0"/>
          </a:xfrm>
          <a:prstGeom prst="line">
            <a:avLst/>
          </a:prstGeom>
          <a:ln w="12700">
            <a:solidFill>
              <a:srgbClr val="0033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635206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24pt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90100" y="153349"/>
            <a:ext cx="11211800" cy="369332"/>
          </a:xfrm>
        </p:spPr>
        <p:txBody>
          <a:bodyPr/>
          <a:lstStyle>
            <a:lvl1pPr>
              <a:defRPr sz="2400">
                <a:solidFill>
                  <a:srgbClr val="003366"/>
                </a:solidFill>
              </a:defRPr>
            </a:lvl1pPr>
          </a:lstStyle>
          <a:p>
            <a:r>
              <a:rPr lang="en-US" altLang="zh-TW" noProof="0"/>
              <a:t>Click to edit Master title style</a:t>
            </a:r>
            <a:endParaRPr lang="en-GB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altLang="zh-TW" noProof="0"/>
              <a:t>Click to edit Master text styles</a:t>
            </a:r>
          </a:p>
          <a:p>
            <a:pPr lvl="1"/>
            <a:r>
              <a:rPr lang="en-US" altLang="zh-TW" noProof="0"/>
              <a:t>Second level</a:t>
            </a:r>
          </a:p>
          <a:p>
            <a:pPr lvl="2"/>
            <a:r>
              <a:rPr lang="en-US" altLang="zh-TW" noProof="0"/>
              <a:t>Third level</a:t>
            </a:r>
          </a:p>
          <a:p>
            <a:pPr lvl="3"/>
            <a:r>
              <a:rPr lang="en-US" altLang="zh-TW" noProof="0"/>
              <a:t>Fourth level</a:t>
            </a:r>
          </a:p>
          <a:p>
            <a:pPr lvl="4"/>
            <a:r>
              <a:rPr lang="en-US" altLang="zh-TW" noProof="0"/>
              <a:t>Fifth level</a:t>
            </a:r>
            <a:endParaRPr lang="en-GB" noProof="0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E4B35C-2CFB-4984-B1A5-ABCEC85D20F8}" type="datetime1">
              <a:rPr lang="en-GB" smtClean="0">
                <a:solidFill>
                  <a:prstClr val="white">
                    <a:lumMod val="50000"/>
                  </a:prstClr>
                </a:solidFill>
              </a:rPr>
              <a:pPr/>
              <a:t>14/12/2021</a:t>
            </a:fld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3B55C4-4F5A-416B-997D-6CE47EB0A945}" type="slidenum">
              <a:rPr lang="en-GB" smtClean="0">
                <a:solidFill>
                  <a:prstClr val="white">
                    <a:lumMod val="50000"/>
                  </a:prstClr>
                </a:solidFill>
              </a:rPr>
              <a:pPr/>
              <a:t>‹#›</a:t>
            </a:fld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cxnSp>
        <p:nvCxnSpPr>
          <p:cNvPr id="7" name="Gerade Verbindung 6"/>
          <p:cNvCxnSpPr/>
          <p:nvPr userDrawn="1"/>
        </p:nvCxnSpPr>
        <p:spPr>
          <a:xfrm>
            <a:off x="0" y="971453"/>
            <a:ext cx="12192000" cy="0"/>
          </a:xfrm>
          <a:prstGeom prst="line">
            <a:avLst/>
          </a:prstGeom>
          <a:ln w="12700">
            <a:solidFill>
              <a:srgbClr val="0033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833454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page_0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2362102" y="1600206"/>
            <a:ext cx="7488001" cy="4525963"/>
          </a:xfrm>
        </p:spPr>
        <p:txBody>
          <a:bodyPr/>
          <a:lstStyle>
            <a:lvl1pPr marL="0" indent="0">
              <a:spcBef>
                <a:spcPts val="600"/>
              </a:spcBef>
              <a:buNone/>
              <a:defRPr/>
            </a:lvl1pPr>
            <a:lvl2pPr marL="182563" indent="-182563">
              <a:spcBef>
                <a:spcPts val="600"/>
              </a:spcBef>
              <a:buFont typeface="BISans" panose="02000503040000020004" pitchFamily="2" charset="0"/>
              <a:buChar char="•"/>
              <a:defRPr/>
            </a:lvl2pPr>
            <a:lvl3pPr marL="358775" indent="-176213">
              <a:buFont typeface="Arial" panose="020B0604020202020204" pitchFamily="34" charset="0"/>
              <a:buChar char="–"/>
              <a:defRPr/>
            </a:lvl3pPr>
          </a:lstStyle>
          <a:p>
            <a:pPr lvl="0"/>
            <a:r>
              <a:rPr lang="en-US" altLang="zh-TW" noProof="0"/>
              <a:t>Click to edit Master text styles</a:t>
            </a:r>
          </a:p>
          <a:p>
            <a:pPr lvl="1"/>
            <a:r>
              <a:rPr lang="en-US" altLang="zh-TW" noProof="0"/>
              <a:t>Second level</a:t>
            </a:r>
          </a:p>
          <a:p>
            <a:pPr lvl="2"/>
            <a:r>
              <a:rPr lang="en-US" altLang="zh-TW" noProof="0"/>
              <a:t>Third level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C90F8743-0E6F-41EA-91A8-8122DB0D84F5}" type="datetime1">
              <a:rPr lang="en-GB" smtClean="0">
                <a:solidFill>
                  <a:prstClr val="white">
                    <a:lumMod val="50000"/>
                  </a:prstClr>
                </a:solidFill>
              </a:rPr>
              <a:pPr/>
              <a:t>14/12/2021</a:t>
            </a:fld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143B55C4-4F5A-416B-997D-6CE47EB0A945}" type="slidenum">
              <a:rPr lang="en-GB" smtClean="0">
                <a:solidFill>
                  <a:prstClr val="white">
                    <a:lumMod val="50000"/>
                  </a:prstClr>
                </a:solidFill>
              </a:rPr>
              <a:pPr/>
              <a:t>‹#›</a:t>
            </a:fld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4" name="Titel 1"/>
          <p:cNvSpPr>
            <a:spLocks noGrp="1"/>
          </p:cNvSpPr>
          <p:nvPr>
            <p:ph type="title"/>
          </p:nvPr>
        </p:nvSpPr>
        <p:spPr>
          <a:xfrm>
            <a:off x="490100" y="153349"/>
            <a:ext cx="11211800" cy="369332"/>
          </a:xfrm>
        </p:spPr>
        <p:txBody>
          <a:bodyPr/>
          <a:lstStyle>
            <a:lvl1pPr>
              <a:defRPr sz="2400">
                <a:solidFill>
                  <a:srgbClr val="003366"/>
                </a:solidFill>
              </a:defRPr>
            </a:lvl1pPr>
          </a:lstStyle>
          <a:p>
            <a:r>
              <a:rPr lang="en-US" altLang="zh-TW" noProof="0"/>
              <a:t>Click to edit Master title style</a:t>
            </a:r>
            <a:endParaRPr lang="en-GB" noProof="0" dirty="0"/>
          </a:p>
        </p:txBody>
      </p:sp>
      <p:cxnSp>
        <p:nvCxnSpPr>
          <p:cNvPr id="8" name="Gerade Verbindung 7"/>
          <p:cNvCxnSpPr/>
          <p:nvPr userDrawn="1"/>
        </p:nvCxnSpPr>
        <p:spPr>
          <a:xfrm>
            <a:off x="0" y="971453"/>
            <a:ext cx="12192000" cy="0"/>
          </a:xfrm>
          <a:prstGeom prst="line">
            <a:avLst/>
          </a:prstGeom>
          <a:ln w="12700">
            <a:solidFill>
              <a:srgbClr val="0033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5924" y="6578989"/>
            <a:ext cx="840360" cy="1905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00703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gram slide_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90102" y="1600203"/>
            <a:ext cx="3912567" cy="3710092"/>
          </a:xfrm>
        </p:spPr>
        <p:txBody>
          <a:bodyPr/>
          <a:lstStyle/>
          <a:p>
            <a:pPr lvl="0"/>
            <a:r>
              <a:rPr lang="en-US" altLang="zh-TW" noProof="0"/>
              <a:t>Click to edit Master text styles</a:t>
            </a:r>
          </a:p>
          <a:p>
            <a:pPr lvl="1"/>
            <a:r>
              <a:rPr lang="en-US" altLang="zh-TW" noProof="0"/>
              <a:t>Second level</a:t>
            </a:r>
          </a:p>
          <a:p>
            <a:pPr lvl="2"/>
            <a:r>
              <a:rPr lang="en-US" altLang="zh-TW" noProof="0"/>
              <a:t>Third level</a:t>
            </a:r>
          </a:p>
          <a:p>
            <a:pPr lvl="3"/>
            <a:r>
              <a:rPr lang="en-US" altLang="zh-TW" noProof="0"/>
              <a:t>Fourth level</a:t>
            </a:r>
          </a:p>
          <a:p>
            <a:pPr lvl="4"/>
            <a:r>
              <a:rPr lang="en-US" altLang="zh-TW" noProof="0"/>
              <a:t>Fifth level</a:t>
            </a:r>
            <a:endParaRPr lang="en-GB" noProof="0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78DA1FEC-CBCE-41CB-A00E-A142F817B3A7}" type="datetime1">
              <a:rPr lang="en-GB" smtClean="0">
                <a:solidFill>
                  <a:prstClr val="white">
                    <a:lumMod val="50000"/>
                  </a:prstClr>
                </a:solidFill>
              </a:rPr>
              <a:pPr/>
              <a:t>14/12/2021</a:t>
            </a:fld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143B55C4-4F5A-416B-997D-6CE47EB0A945}" type="slidenum">
              <a:rPr lang="en-GB" smtClean="0">
                <a:solidFill>
                  <a:prstClr val="white">
                    <a:lumMod val="50000"/>
                  </a:prstClr>
                </a:solidFill>
              </a:rPr>
              <a:pPr/>
              <a:t>‹#›</a:t>
            </a:fld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6" name="Titel 1"/>
          <p:cNvSpPr>
            <a:spLocks noGrp="1"/>
          </p:cNvSpPr>
          <p:nvPr>
            <p:ph type="title"/>
          </p:nvPr>
        </p:nvSpPr>
        <p:spPr>
          <a:xfrm>
            <a:off x="490100" y="153349"/>
            <a:ext cx="11211800" cy="369332"/>
          </a:xfrm>
        </p:spPr>
        <p:txBody>
          <a:bodyPr/>
          <a:lstStyle>
            <a:lvl1pPr>
              <a:defRPr sz="2400">
                <a:solidFill>
                  <a:srgbClr val="003366"/>
                </a:solidFill>
              </a:defRPr>
            </a:lvl1pPr>
          </a:lstStyle>
          <a:p>
            <a:r>
              <a:rPr lang="en-US" altLang="zh-TW" noProof="0"/>
              <a:t>Click to edit Master title style</a:t>
            </a:r>
            <a:endParaRPr lang="en-GB" noProof="0" dirty="0"/>
          </a:p>
        </p:txBody>
      </p:sp>
      <p:cxnSp>
        <p:nvCxnSpPr>
          <p:cNvPr id="8" name="Gerade Verbindung 7"/>
          <p:cNvCxnSpPr/>
          <p:nvPr userDrawn="1"/>
        </p:nvCxnSpPr>
        <p:spPr>
          <a:xfrm>
            <a:off x="0" y="971453"/>
            <a:ext cx="12192000" cy="0"/>
          </a:xfrm>
          <a:prstGeom prst="line">
            <a:avLst/>
          </a:prstGeom>
          <a:ln w="12700">
            <a:solidFill>
              <a:srgbClr val="0033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5924" y="6578989"/>
            <a:ext cx="840360" cy="1905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33084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95A03C-FB3C-4331-9FA1-4886C0A46E98}" type="datetime1">
              <a:rPr lang="en-GB" smtClean="0">
                <a:solidFill>
                  <a:prstClr val="white">
                    <a:lumMod val="50000"/>
                  </a:prstClr>
                </a:solidFill>
              </a:rPr>
              <a:pPr/>
              <a:t>14/12/2021</a:t>
            </a:fld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3B55C4-4F5A-416B-997D-6CE47EB0A945}" type="slidenum">
              <a:rPr lang="en-GB" smtClean="0">
                <a:solidFill>
                  <a:prstClr val="white">
                    <a:lumMod val="50000"/>
                  </a:prstClr>
                </a:solidFill>
              </a:rPr>
              <a:pPr/>
              <a:t>‹#›</a:t>
            </a:fld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15305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page_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11"/>
          <p:cNvSpPr/>
          <p:nvPr userDrawn="1"/>
        </p:nvSpPr>
        <p:spPr>
          <a:xfrm>
            <a:off x="0" y="2928494"/>
            <a:ext cx="12192000" cy="3929507"/>
          </a:xfrm>
          <a:prstGeom prst="rect">
            <a:avLst/>
          </a:prstGeom>
          <a:gradFill>
            <a:gsLst>
              <a:gs pos="0">
                <a:srgbClr val="6699CC">
                  <a:alpha val="40000"/>
                </a:srgbClr>
              </a:gs>
              <a:gs pos="100000">
                <a:srgbClr val="FFFFFF"/>
              </a:gs>
            </a:gsLst>
            <a:lin ang="162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sz="1400" dirty="0">
              <a:solidFill>
                <a:prstClr val="black"/>
              </a:solidFill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231" t="19013" b="13976"/>
          <a:stretch/>
        </p:blipFill>
        <p:spPr bwMode="auto">
          <a:xfrm>
            <a:off x="0" y="0"/>
            <a:ext cx="8573053" cy="685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24" name="Gerade Verbindung 23"/>
          <p:cNvCxnSpPr/>
          <p:nvPr/>
        </p:nvCxnSpPr>
        <p:spPr>
          <a:xfrm>
            <a:off x="2" y="2492389"/>
            <a:ext cx="12191999" cy="0"/>
          </a:xfrm>
          <a:prstGeom prst="line">
            <a:avLst/>
          </a:prstGeom>
          <a:ln w="12700">
            <a:solidFill>
              <a:srgbClr val="0033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490101" y="2654884"/>
            <a:ext cx="7845825" cy="738664"/>
          </a:xfrm>
        </p:spPr>
        <p:txBody>
          <a:bodyPr wrap="square" lIns="0">
            <a:spAutoFit/>
          </a:bodyPr>
          <a:lstStyle>
            <a:lvl1pPr>
              <a:defRPr sz="4800">
                <a:solidFill>
                  <a:srgbClr val="003366"/>
                </a:solidFill>
              </a:defRPr>
            </a:lvl1pPr>
          </a:lstStyle>
          <a:p>
            <a:r>
              <a:rPr lang="en-GB" noProof="0" dirty="0" err="1"/>
              <a:t>Titel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490101" y="4763671"/>
            <a:ext cx="7845825" cy="369332"/>
          </a:xfrm>
        </p:spPr>
        <p:txBody>
          <a:bodyPr wrap="square">
            <a:spAutoFit/>
          </a:bodyPr>
          <a:lstStyle>
            <a:lvl1pPr marL="0" indent="0" algn="l">
              <a:buNone/>
              <a:defRPr sz="2400">
                <a:solidFill>
                  <a:srgbClr val="003366"/>
                </a:solidFill>
                <a:latin typeface="BISansCond" panose="02000006050000020004" pitchFamily="2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 dirty="0" err="1"/>
              <a:t>Untertitel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  <p:cxnSp>
        <p:nvCxnSpPr>
          <p:cNvPr id="10" name="Gerade Verbindung 9"/>
          <p:cNvCxnSpPr/>
          <p:nvPr userDrawn="1"/>
        </p:nvCxnSpPr>
        <p:spPr>
          <a:xfrm>
            <a:off x="2" y="2492389"/>
            <a:ext cx="12191999" cy="0"/>
          </a:xfrm>
          <a:prstGeom prst="line">
            <a:avLst/>
          </a:prstGeom>
          <a:ln w="12700">
            <a:solidFill>
              <a:srgbClr val="0033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Grafik 14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22937" y="6120399"/>
            <a:ext cx="1679601" cy="381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10582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age_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eck 12"/>
          <p:cNvSpPr/>
          <p:nvPr userDrawn="1"/>
        </p:nvSpPr>
        <p:spPr>
          <a:xfrm>
            <a:off x="0" y="2928494"/>
            <a:ext cx="12192000" cy="3929507"/>
          </a:xfrm>
          <a:prstGeom prst="rect">
            <a:avLst/>
          </a:prstGeom>
          <a:gradFill>
            <a:gsLst>
              <a:gs pos="0">
                <a:srgbClr val="6699CC">
                  <a:alpha val="40000"/>
                </a:srgbClr>
              </a:gs>
              <a:gs pos="100000">
                <a:srgbClr val="FFFFFF"/>
              </a:gs>
            </a:gsLst>
            <a:lin ang="162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sz="1400" dirty="0">
              <a:solidFill>
                <a:prstClr val="black"/>
              </a:solidFill>
            </a:endParaRPr>
          </a:p>
        </p:txBody>
      </p:sp>
      <p:pic>
        <p:nvPicPr>
          <p:cNvPr id="14" name="Picture 2"/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231" t="19013" b="13976"/>
          <a:stretch/>
        </p:blipFill>
        <p:spPr bwMode="auto">
          <a:xfrm>
            <a:off x="0" y="0"/>
            <a:ext cx="8573053" cy="685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24" name="Gerade Verbindung 23"/>
          <p:cNvCxnSpPr/>
          <p:nvPr/>
        </p:nvCxnSpPr>
        <p:spPr>
          <a:xfrm>
            <a:off x="2" y="2492389"/>
            <a:ext cx="12191999" cy="0"/>
          </a:xfrm>
          <a:prstGeom prst="line">
            <a:avLst/>
          </a:prstGeom>
          <a:ln w="12700">
            <a:solidFill>
              <a:srgbClr val="0033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490100" y="2654884"/>
            <a:ext cx="7166475" cy="738664"/>
          </a:xfrm>
        </p:spPr>
        <p:txBody>
          <a:bodyPr wrap="square">
            <a:spAutoFit/>
          </a:bodyPr>
          <a:lstStyle>
            <a:lvl1pPr>
              <a:defRPr sz="4800">
                <a:solidFill>
                  <a:srgbClr val="003366"/>
                </a:solidFill>
              </a:defRPr>
            </a:lvl1pPr>
          </a:lstStyle>
          <a:p>
            <a:r>
              <a:rPr lang="en-GB" noProof="0" dirty="0" err="1"/>
              <a:t>Titel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490100" y="4763671"/>
            <a:ext cx="7166475" cy="369332"/>
          </a:xfrm>
        </p:spPr>
        <p:txBody>
          <a:bodyPr wrap="square">
            <a:spAutoFit/>
          </a:bodyPr>
          <a:lstStyle>
            <a:lvl1pPr marL="0" indent="0" algn="l">
              <a:buNone/>
              <a:defRPr sz="2400">
                <a:solidFill>
                  <a:srgbClr val="003366"/>
                </a:solidFill>
                <a:latin typeface="BISansCond" panose="02000006050000020004" pitchFamily="2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 dirty="0" err="1"/>
              <a:t>Untertitel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  <p:cxnSp>
        <p:nvCxnSpPr>
          <p:cNvPr id="11" name="Gerade Verbindung 10"/>
          <p:cNvCxnSpPr/>
          <p:nvPr userDrawn="1"/>
        </p:nvCxnSpPr>
        <p:spPr>
          <a:xfrm>
            <a:off x="2" y="2492389"/>
            <a:ext cx="12191999" cy="0"/>
          </a:xfrm>
          <a:prstGeom prst="line">
            <a:avLst/>
          </a:prstGeom>
          <a:ln w="12700">
            <a:solidFill>
              <a:srgbClr val="0033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724524" y="749516"/>
            <a:ext cx="3014400" cy="2260800"/>
          </a:xfrm>
          <a:prstGeom prst="ellipse">
            <a:avLst/>
          </a:prstGeom>
          <a:gradFill flip="none" rotWithShape="1">
            <a:gsLst>
              <a:gs pos="0">
                <a:srgbClr val="002142"/>
              </a:gs>
              <a:gs pos="100000">
                <a:srgbClr val="275187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>
            <a:normAutofit/>
          </a:bodyPr>
          <a:lstStyle>
            <a:lvl1pPr marL="0" indent="0" algn="ctr">
              <a:buNone/>
              <a:defRPr lang="de-DE" sz="3000" dirty="0">
                <a:solidFill>
                  <a:schemeClr val="bg1"/>
                </a:solidFill>
                <a:latin typeface="+mj-lt"/>
              </a:defRPr>
            </a:lvl1pPr>
          </a:lstStyle>
          <a:p>
            <a:pPr marL="0" lvl="0" algn="ctr"/>
            <a:r>
              <a:rPr lang="en-GB" noProof="0" dirty="0"/>
              <a:t>Add. info [font size variable]</a:t>
            </a:r>
          </a:p>
        </p:txBody>
      </p: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22937" y="6120399"/>
            <a:ext cx="1679601" cy="381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36079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_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eck 12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rgbClr val="89C0FF"/>
              </a:gs>
              <a:gs pos="100000">
                <a:srgbClr val="5486C1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dirty="0">
              <a:solidFill>
                <a:prstClr val="white"/>
              </a:solidFill>
            </a:endParaRPr>
          </a:p>
        </p:txBody>
      </p:sp>
      <p:cxnSp>
        <p:nvCxnSpPr>
          <p:cNvPr id="17" name="Gerade Verbindung 16"/>
          <p:cNvCxnSpPr/>
          <p:nvPr/>
        </p:nvCxnSpPr>
        <p:spPr>
          <a:xfrm>
            <a:off x="0" y="2492389"/>
            <a:ext cx="12192000" cy="0"/>
          </a:xfrm>
          <a:prstGeom prst="line">
            <a:avLst/>
          </a:prstGeom>
          <a:ln w="1270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Textplatzhalter 18"/>
          <p:cNvSpPr>
            <a:spLocks noGrp="1"/>
          </p:cNvSpPr>
          <p:nvPr>
            <p:ph type="body" sz="quarter" idx="11"/>
          </p:nvPr>
        </p:nvSpPr>
        <p:spPr>
          <a:xfrm>
            <a:off x="469106" y="2640129"/>
            <a:ext cx="5412316" cy="1477328"/>
          </a:xfrm>
        </p:spPr>
        <p:txBody>
          <a:bodyPr wrap="square">
            <a:spAutoFit/>
          </a:bodyPr>
          <a:lstStyle>
            <a:lvl1pPr marL="0" indent="0">
              <a:buNone/>
              <a:defRPr sz="4800">
                <a:solidFill>
                  <a:schemeClr val="bg1"/>
                </a:solidFill>
                <a:latin typeface="BISansCond" panose="02000006050000020004" pitchFamily="2" charset="0"/>
              </a:defRPr>
            </a:lvl1pPr>
          </a:lstStyle>
          <a:p>
            <a:pPr lvl="0"/>
            <a:r>
              <a:rPr lang="en-US" altLang="zh-TW" noProof="0"/>
              <a:t>Click to edit Master text styles</a:t>
            </a:r>
          </a:p>
        </p:txBody>
      </p:sp>
      <p:sp>
        <p:nvSpPr>
          <p:cNvPr id="20" name="Textplatzhalter 18"/>
          <p:cNvSpPr>
            <a:spLocks noGrp="1"/>
          </p:cNvSpPr>
          <p:nvPr>
            <p:ph type="body" sz="quarter" idx="12"/>
          </p:nvPr>
        </p:nvSpPr>
        <p:spPr>
          <a:xfrm>
            <a:off x="469105" y="3718148"/>
            <a:ext cx="5412315" cy="369332"/>
          </a:xfrm>
        </p:spPr>
        <p:txBody>
          <a:bodyPr wrap="square">
            <a:spAutoFit/>
          </a:bodyPr>
          <a:lstStyle>
            <a:lvl1pPr marL="0" indent="0">
              <a:buNone/>
              <a:defRPr sz="2400">
                <a:solidFill>
                  <a:schemeClr val="bg1"/>
                </a:solidFill>
                <a:latin typeface="BISansCond" panose="02000006050000020004" pitchFamily="2" charset="0"/>
              </a:defRPr>
            </a:lvl1pPr>
          </a:lstStyle>
          <a:p>
            <a:pPr lvl="0"/>
            <a:r>
              <a:rPr lang="en-US" altLang="zh-TW" noProof="0"/>
              <a:t>Click to edit Master text styles</a:t>
            </a:r>
          </a:p>
        </p:txBody>
      </p:sp>
      <p:cxnSp>
        <p:nvCxnSpPr>
          <p:cNvPr id="10" name="Gerade Verbindung 9"/>
          <p:cNvCxnSpPr/>
          <p:nvPr userDrawn="1"/>
        </p:nvCxnSpPr>
        <p:spPr>
          <a:xfrm>
            <a:off x="0" y="2492389"/>
            <a:ext cx="12192000" cy="0"/>
          </a:xfrm>
          <a:prstGeom prst="line">
            <a:avLst/>
          </a:prstGeom>
          <a:ln w="1270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26260" y="6120399"/>
            <a:ext cx="1679601" cy="381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17402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_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eck 12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rgbClr val="89C0FF"/>
              </a:gs>
              <a:gs pos="100000">
                <a:srgbClr val="5486C1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dirty="0">
              <a:solidFill>
                <a:prstClr val="white"/>
              </a:solidFill>
            </a:endParaRPr>
          </a:p>
        </p:txBody>
      </p:sp>
      <p:cxnSp>
        <p:nvCxnSpPr>
          <p:cNvPr id="17" name="Gerade Verbindung 16"/>
          <p:cNvCxnSpPr/>
          <p:nvPr/>
        </p:nvCxnSpPr>
        <p:spPr>
          <a:xfrm>
            <a:off x="0" y="2492389"/>
            <a:ext cx="12192000" cy="0"/>
          </a:xfrm>
          <a:prstGeom prst="line">
            <a:avLst/>
          </a:prstGeom>
          <a:ln w="1270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Textplatzhalter 18"/>
          <p:cNvSpPr>
            <a:spLocks noGrp="1"/>
          </p:cNvSpPr>
          <p:nvPr>
            <p:ph type="body" sz="quarter" idx="11"/>
          </p:nvPr>
        </p:nvSpPr>
        <p:spPr>
          <a:xfrm>
            <a:off x="469106" y="2640129"/>
            <a:ext cx="5412316" cy="1477328"/>
          </a:xfrm>
        </p:spPr>
        <p:txBody>
          <a:bodyPr wrap="square">
            <a:spAutoFit/>
          </a:bodyPr>
          <a:lstStyle>
            <a:lvl1pPr marL="0" indent="0">
              <a:buNone/>
              <a:defRPr sz="4800">
                <a:solidFill>
                  <a:schemeClr val="bg1"/>
                </a:solidFill>
                <a:latin typeface="BISansCond" panose="02000006050000020004" pitchFamily="2" charset="0"/>
              </a:defRPr>
            </a:lvl1pPr>
          </a:lstStyle>
          <a:p>
            <a:pPr lvl="0"/>
            <a:r>
              <a:rPr lang="en-US" altLang="zh-TW" noProof="0"/>
              <a:t>Click to edit Master text styles</a:t>
            </a:r>
          </a:p>
        </p:txBody>
      </p:sp>
      <p:sp>
        <p:nvSpPr>
          <p:cNvPr id="20" name="Textplatzhalter 18"/>
          <p:cNvSpPr>
            <a:spLocks noGrp="1"/>
          </p:cNvSpPr>
          <p:nvPr>
            <p:ph type="body" sz="quarter" idx="12"/>
          </p:nvPr>
        </p:nvSpPr>
        <p:spPr>
          <a:xfrm>
            <a:off x="469105" y="3718148"/>
            <a:ext cx="5412315" cy="369332"/>
          </a:xfrm>
        </p:spPr>
        <p:txBody>
          <a:bodyPr wrap="square">
            <a:spAutoFit/>
          </a:bodyPr>
          <a:lstStyle>
            <a:lvl1pPr marL="0" indent="0">
              <a:buNone/>
              <a:defRPr sz="2400">
                <a:solidFill>
                  <a:schemeClr val="bg1"/>
                </a:solidFill>
                <a:latin typeface="BISansCond" panose="02000006050000020004" pitchFamily="2" charset="0"/>
              </a:defRPr>
            </a:lvl1pPr>
          </a:lstStyle>
          <a:p>
            <a:pPr lvl="0"/>
            <a:r>
              <a:rPr lang="en-US" altLang="zh-TW" noProof="0"/>
              <a:t>Click to edit Master text styles</a:t>
            </a:r>
          </a:p>
        </p:txBody>
      </p:sp>
      <p:cxnSp>
        <p:nvCxnSpPr>
          <p:cNvPr id="10" name="Gerade Verbindung 9"/>
          <p:cNvCxnSpPr/>
          <p:nvPr userDrawn="1"/>
        </p:nvCxnSpPr>
        <p:spPr>
          <a:xfrm>
            <a:off x="0" y="2492389"/>
            <a:ext cx="12192000" cy="0"/>
          </a:xfrm>
          <a:prstGeom prst="line">
            <a:avLst/>
          </a:prstGeom>
          <a:ln w="1270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5" name="Textplatzhalter 24"/>
          <p:cNvSpPr>
            <a:spLocks noGrp="1"/>
          </p:cNvSpPr>
          <p:nvPr>
            <p:ph type="body" sz="quarter" idx="13" hasCustomPrompt="1"/>
          </p:nvPr>
        </p:nvSpPr>
        <p:spPr>
          <a:xfrm>
            <a:off x="6088023" y="970175"/>
            <a:ext cx="3691200" cy="2768400"/>
          </a:xfrm>
          <a:prstGeom prst="ellipse">
            <a:avLst/>
          </a:prstGeom>
          <a:gradFill>
            <a:gsLst>
              <a:gs pos="0">
                <a:schemeClr val="bg1"/>
              </a:gs>
              <a:gs pos="100000">
                <a:schemeClr val="bg1">
                  <a:alpha val="59000"/>
                </a:schemeClr>
              </a:gs>
            </a:gsLst>
            <a:lin ang="9000000" scaled="0"/>
          </a:gradFill>
          <a:ln>
            <a:noFill/>
          </a:ln>
        </p:spPr>
        <p:txBody>
          <a:bodyPr anchor="ctr" anchorCtr="0"/>
          <a:lstStyle>
            <a:lvl1pPr marL="0" indent="0" algn="ctr">
              <a:spcBef>
                <a:spcPts val="0"/>
              </a:spcBef>
              <a:buNone/>
              <a:defRPr sz="2400">
                <a:solidFill>
                  <a:srgbClr val="003366"/>
                </a:solidFill>
                <a:latin typeface="BISansCond" panose="02000006050000020004" pitchFamily="2" charset="0"/>
              </a:defRPr>
            </a:lvl1pPr>
          </a:lstStyle>
          <a:p>
            <a:pPr lvl="0"/>
            <a:r>
              <a:rPr lang="en-GB" noProof="0" dirty="0" err="1"/>
              <a:t>Textmaster</a:t>
            </a:r>
            <a:r>
              <a:rPr lang="en-GB" noProof="0" dirty="0"/>
              <a:t>-format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26260" y="6120399"/>
            <a:ext cx="1679601" cy="381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36562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5954" name="Picture 10" descr="BI-Logo_36pt_blue_ne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983133" y="5937251"/>
            <a:ext cx="2878667" cy="665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5955" name="Rectangle 3"/>
          <p:cNvSpPr>
            <a:spLocks noChangeArrowheads="1"/>
          </p:cNvSpPr>
          <p:nvPr/>
        </p:nvSpPr>
        <p:spPr bwMode="auto">
          <a:xfrm>
            <a:off x="0" y="1798638"/>
            <a:ext cx="12192000" cy="2519362"/>
          </a:xfrm>
          <a:prstGeom prst="rect">
            <a:avLst/>
          </a:prstGeom>
          <a:solidFill>
            <a:srgbClr val="6699CC"/>
          </a:solidFill>
          <a:ln w="12700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4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25956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3598334" y="2878138"/>
            <a:ext cx="8155517" cy="304800"/>
          </a:xfrm>
        </p:spPr>
        <p:txBody>
          <a:bodyPr>
            <a:spAutoFit/>
          </a:bodyPr>
          <a:lstStyle>
            <a:lvl1pPr>
              <a:defRPr>
                <a:solidFill>
                  <a:schemeClr val="bg1"/>
                </a:solidFill>
                <a:sym typeface="Symbol" pitchFamily="18" charset="2"/>
              </a:defRPr>
            </a:lvl1pPr>
          </a:lstStyle>
          <a:p>
            <a:r>
              <a:rPr lang="en-US" dirty="0">
                <a:sym typeface="Symbol" pitchFamily="18" charset="2"/>
              </a:rPr>
              <a:t>Click to edit Master subtitle style</a:t>
            </a:r>
          </a:p>
        </p:txBody>
      </p:sp>
      <p:sp>
        <p:nvSpPr>
          <p:cNvPr id="125957" name="Rectangle 5"/>
          <p:cNvSpPr>
            <a:spLocks noGrp="1" noChangeArrowheads="1"/>
          </p:cNvSpPr>
          <p:nvPr>
            <p:ph type="ctrTitle"/>
          </p:nvPr>
        </p:nvSpPr>
        <p:spPr>
          <a:xfrm>
            <a:off x="3598334" y="2270125"/>
            <a:ext cx="8157633" cy="427038"/>
          </a:xfrm>
          <a:noFill/>
        </p:spPr>
        <p:txBody>
          <a:bodyPr anchor="b">
            <a:spAutoFit/>
          </a:bodyPr>
          <a:lstStyle>
            <a:lvl1pPr>
              <a:defRPr sz="2800"/>
            </a:lvl1pPr>
          </a:lstStyle>
          <a:p>
            <a:r>
              <a:rPr lang="en-US" dirty="0"/>
              <a:t>Click to edit Master title style</a:t>
            </a:r>
          </a:p>
        </p:txBody>
      </p:sp>
      <p:grpSp>
        <p:nvGrpSpPr>
          <p:cNvPr id="2" name="Group 6"/>
          <p:cNvGrpSpPr>
            <a:grpSpLocks/>
          </p:cNvGrpSpPr>
          <p:nvPr/>
        </p:nvGrpSpPr>
        <p:grpSpPr bwMode="auto">
          <a:xfrm>
            <a:off x="0" y="0"/>
            <a:ext cx="12192000" cy="6858000"/>
            <a:chOff x="0" y="0"/>
            <a:chExt cx="5760" cy="4320"/>
          </a:xfrm>
        </p:grpSpPr>
        <p:sp>
          <p:nvSpPr>
            <p:cNvPr id="125959" name="Line 7"/>
            <p:cNvSpPr>
              <a:spLocks noChangeShapeType="1"/>
            </p:cNvSpPr>
            <p:nvPr/>
          </p:nvSpPr>
          <p:spPr bwMode="auto">
            <a:xfrm flipH="1">
              <a:off x="0" y="3978"/>
              <a:ext cx="5760" cy="0"/>
            </a:xfrm>
            <a:prstGeom prst="line">
              <a:avLst/>
            </a:prstGeom>
            <a:noFill/>
            <a:ln w="12700">
              <a:noFill/>
              <a:prstDash val="dash"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14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5960" name="Line 8"/>
            <p:cNvSpPr>
              <a:spLocks noChangeShapeType="1"/>
            </p:cNvSpPr>
            <p:nvPr/>
          </p:nvSpPr>
          <p:spPr bwMode="auto">
            <a:xfrm>
              <a:off x="222" y="0"/>
              <a:ext cx="0" cy="4320"/>
            </a:xfrm>
            <a:prstGeom prst="line">
              <a:avLst/>
            </a:prstGeom>
            <a:noFill/>
            <a:ln w="12700">
              <a:noFill/>
              <a:prstDash val="dash"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14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5961" name="Line 9"/>
            <p:cNvSpPr>
              <a:spLocks noChangeShapeType="1"/>
            </p:cNvSpPr>
            <p:nvPr/>
          </p:nvSpPr>
          <p:spPr bwMode="auto">
            <a:xfrm>
              <a:off x="5538" y="0"/>
              <a:ext cx="0" cy="4320"/>
            </a:xfrm>
            <a:prstGeom prst="line">
              <a:avLst/>
            </a:prstGeom>
            <a:noFill/>
            <a:ln w="12700">
              <a:noFill/>
              <a:prstDash val="dash"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14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5962" name="Line 10"/>
            <p:cNvSpPr>
              <a:spLocks noChangeShapeType="1"/>
            </p:cNvSpPr>
            <p:nvPr/>
          </p:nvSpPr>
          <p:spPr bwMode="auto">
            <a:xfrm flipH="1">
              <a:off x="0" y="874"/>
              <a:ext cx="5760" cy="0"/>
            </a:xfrm>
            <a:prstGeom prst="line">
              <a:avLst/>
            </a:prstGeom>
            <a:noFill/>
            <a:ln w="12700">
              <a:noFill/>
              <a:prstDash val="dash"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14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51108763"/>
      </p:ext>
    </p:extLst>
  </p:cSld>
  <p:clrMapOvr>
    <a:masterClrMapping/>
  </p:clrMapOvr>
  <p:transition spd="med"/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_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hteck 1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rgbClr val="89C0FF"/>
              </a:gs>
              <a:gs pos="100000">
                <a:srgbClr val="5486C1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dirty="0">
              <a:solidFill>
                <a:prstClr val="white"/>
              </a:solidFill>
            </a:endParaRPr>
          </a:p>
        </p:txBody>
      </p:sp>
      <p:cxnSp>
        <p:nvCxnSpPr>
          <p:cNvPr id="17" name="Gerade Verbindung 16"/>
          <p:cNvCxnSpPr/>
          <p:nvPr/>
        </p:nvCxnSpPr>
        <p:spPr>
          <a:xfrm>
            <a:off x="0" y="2492389"/>
            <a:ext cx="12192000" cy="0"/>
          </a:xfrm>
          <a:prstGeom prst="line">
            <a:avLst/>
          </a:prstGeom>
          <a:ln w="1270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Textplatzhalter 18"/>
          <p:cNvSpPr>
            <a:spLocks noGrp="1"/>
          </p:cNvSpPr>
          <p:nvPr>
            <p:ph type="body" sz="quarter" idx="11"/>
          </p:nvPr>
        </p:nvSpPr>
        <p:spPr>
          <a:xfrm>
            <a:off x="469106" y="2640129"/>
            <a:ext cx="5412316" cy="1477328"/>
          </a:xfrm>
        </p:spPr>
        <p:txBody>
          <a:bodyPr wrap="square">
            <a:spAutoFit/>
          </a:bodyPr>
          <a:lstStyle>
            <a:lvl1pPr marL="0" indent="0">
              <a:buNone/>
              <a:defRPr sz="4800">
                <a:solidFill>
                  <a:schemeClr val="bg1"/>
                </a:solidFill>
                <a:latin typeface="BISansCond" panose="02000006050000020004" pitchFamily="2" charset="0"/>
              </a:defRPr>
            </a:lvl1pPr>
          </a:lstStyle>
          <a:p>
            <a:pPr lvl="0"/>
            <a:r>
              <a:rPr lang="en-US" altLang="zh-TW" noProof="0"/>
              <a:t>Click to edit Master text styles</a:t>
            </a:r>
          </a:p>
        </p:txBody>
      </p:sp>
      <p:sp>
        <p:nvSpPr>
          <p:cNvPr id="20" name="Textplatzhalter 18"/>
          <p:cNvSpPr>
            <a:spLocks noGrp="1"/>
          </p:cNvSpPr>
          <p:nvPr>
            <p:ph type="body" sz="quarter" idx="12"/>
          </p:nvPr>
        </p:nvSpPr>
        <p:spPr>
          <a:xfrm>
            <a:off x="469105" y="3718148"/>
            <a:ext cx="3939523" cy="369332"/>
          </a:xfrm>
        </p:spPr>
        <p:txBody>
          <a:bodyPr wrap="square">
            <a:spAutoFit/>
          </a:bodyPr>
          <a:lstStyle>
            <a:lvl1pPr marL="0" indent="0">
              <a:buNone/>
              <a:defRPr sz="2400">
                <a:solidFill>
                  <a:schemeClr val="bg1"/>
                </a:solidFill>
                <a:latin typeface="BISansCond" panose="02000006050000020004" pitchFamily="2" charset="0"/>
              </a:defRPr>
            </a:lvl1pPr>
          </a:lstStyle>
          <a:p>
            <a:pPr lvl="0"/>
            <a:r>
              <a:rPr lang="en-US" altLang="zh-TW" noProof="0"/>
              <a:t>Click to edit Master text styles</a:t>
            </a:r>
          </a:p>
        </p:txBody>
      </p:sp>
      <p:cxnSp>
        <p:nvCxnSpPr>
          <p:cNvPr id="13" name="Gerade Verbindung 12"/>
          <p:cNvCxnSpPr/>
          <p:nvPr userDrawn="1"/>
        </p:nvCxnSpPr>
        <p:spPr>
          <a:xfrm>
            <a:off x="0" y="2492389"/>
            <a:ext cx="12192000" cy="0"/>
          </a:xfrm>
          <a:prstGeom prst="line">
            <a:avLst/>
          </a:prstGeom>
          <a:ln w="1270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Textplatzhalter 24"/>
          <p:cNvSpPr>
            <a:spLocks noGrp="1"/>
          </p:cNvSpPr>
          <p:nvPr>
            <p:ph type="body" sz="quarter" idx="14" hasCustomPrompt="1"/>
          </p:nvPr>
        </p:nvSpPr>
        <p:spPr>
          <a:xfrm>
            <a:off x="6088023" y="970175"/>
            <a:ext cx="3691200" cy="2768400"/>
          </a:xfrm>
          <a:prstGeom prst="ellipse">
            <a:avLst/>
          </a:prstGeom>
          <a:gradFill>
            <a:gsLst>
              <a:gs pos="0">
                <a:schemeClr val="bg1"/>
              </a:gs>
              <a:gs pos="100000">
                <a:schemeClr val="bg1">
                  <a:alpha val="59000"/>
                </a:schemeClr>
              </a:gs>
            </a:gsLst>
            <a:lin ang="9000000" scaled="0"/>
          </a:gradFill>
          <a:ln>
            <a:noFill/>
          </a:ln>
        </p:spPr>
        <p:txBody>
          <a:bodyPr anchor="ctr" anchorCtr="0"/>
          <a:lstStyle>
            <a:lvl1pPr marL="0" indent="0" algn="ctr">
              <a:spcBef>
                <a:spcPts val="0"/>
              </a:spcBef>
              <a:buNone/>
              <a:defRPr sz="2400">
                <a:solidFill>
                  <a:srgbClr val="003366"/>
                </a:solidFill>
                <a:latin typeface="BISansCond" panose="02000006050000020004" pitchFamily="2" charset="0"/>
              </a:defRPr>
            </a:lvl1pPr>
          </a:lstStyle>
          <a:p>
            <a:pPr lvl="0"/>
            <a:r>
              <a:rPr lang="en-GB" noProof="0" dirty="0" err="1"/>
              <a:t>Textmaster</a:t>
            </a:r>
            <a:r>
              <a:rPr lang="en-GB" noProof="0" dirty="0"/>
              <a:t>-format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  <p:sp>
        <p:nvSpPr>
          <p:cNvPr id="23" name="Bildplatzhalter 22"/>
          <p:cNvSpPr>
            <a:spLocks noGrp="1"/>
          </p:cNvSpPr>
          <p:nvPr>
            <p:ph type="pic" sz="quarter" idx="13"/>
          </p:nvPr>
        </p:nvSpPr>
        <p:spPr>
          <a:xfrm>
            <a:off x="5799691" y="3500533"/>
            <a:ext cx="3014400" cy="2260800"/>
          </a:xfrm>
          <a:prstGeom prst="ellipse">
            <a:avLst/>
          </a:prstGeom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n-US" altLang="zh-TW" noProof="0"/>
              <a:t>Click icon to add picture</a:t>
            </a:r>
            <a:endParaRPr lang="en-GB" noProof="0" dirty="0"/>
          </a:p>
        </p:txBody>
      </p: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26260" y="6120399"/>
            <a:ext cx="1679601" cy="381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64384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page_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 userDrawn="1"/>
        </p:nvSpPr>
        <p:spPr>
          <a:xfrm>
            <a:off x="0" y="2928494"/>
            <a:ext cx="12192000" cy="3929507"/>
          </a:xfrm>
          <a:prstGeom prst="rect">
            <a:avLst/>
          </a:prstGeom>
          <a:gradFill>
            <a:gsLst>
              <a:gs pos="0">
                <a:srgbClr val="6699CC">
                  <a:alpha val="40000"/>
                </a:srgbClr>
              </a:gs>
              <a:gs pos="100000">
                <a:srgbClr val="FFFFFF"/>
              </a:gs>
            </a:gsLst>
            <a:lin ang="162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sz="1400" dirty="0">
              <a:solidFill>
                <a:prstClr val="black"/>
              </a:solidFill>
            </a:endParaRPr>
          </a:p>
        </p:txBody>
      </p:sp>
      <p:cxnSp>
        <p:nvCxnSpPr>
          <p:cNvPr id="5" name="Gerade Verbindung 4"/>
          <p:cNvCxnSpPr/>
          <p:nvPr userDrawn="1"/>
        </p:nvCxnSpPr>
        <p:spPr>
          <a:xfrm>
            <a:off x="0" y="971453"/>
            <a:ext cx="12192000" cy="0"/>
          </a:xfrm>
          <a:prstGeom prst="line">
            <a:avLst/>
          </a:prstGeom>
          <a:ln w="12700">
            <a:solidFill>
              <a:srgbClr val="0033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5924" y="6578958"/>
            <a:ext cx="840360" cy="190510"/>
          </a:xfrm>
          <a:prstGeom prst="rect">
            <a:avLst/>
          </a:prstGeom>
        </p:spPr>
      </p:pic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/>
              <a:t>Click to edit Master title styl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8F670B-D7B9-419C-9EDC-EEA2E815864B}" type="datetime1">
              <a:rPr lang="en-GB" smtClean="0">
                <a:solidFill>
                  <a:prstClr val="white">
                    <a:lumMod val="50000"/>
                  </a:prstClr>
                </a:solidFill>
              </a:rPr>
              <a:pPr/>
              <a:t>14/12/2021</a:t>
            </a:fld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3B55C4-4F5A-416B-997D-6CE47EB0A945}" type="slidenum">
              <a:rPr lang="en-GB" smtClean="0">
                <a:solidFill>
                  <a:prstClr val="white">
                    <a:lumMod val="50000"/>
                  </a:prstClr>
                </a:solidFill>
              </a:rPr>
              <a:pPr/>
              <a:t>‹#›</a:t>
            </a:fld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995021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page_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11"/>
          <p:cNvSpPr/>
          <p:nvPr userDrawn="1"/>
        </p:nvSpPr>
        <p:spPr>
          <a:xfrm>
            <a:off x="0" y="2928494"/>
            <a:ext cx="12192000" cy="3929507"/>
          </a:xfrm>
          <a:prstGeom prst="rect">
            <a:avLst/>
          </a:prstGeom>
          <a:gradFill>
            <a:gsLst>
              <a:gs pos="0">
                <a:srgbClr val="6699CC">
                  <a:alpha val="40000"/>
                </a:srgbClr>
              </a:gs>
              <a:gs pos="100000">
                <a:srgbClr val="FFFFFF"/>
              </a:gs>
            </a:gsLst>
            <a:lin ang="162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sz="1400" dirty="0">
              <a:solidFill>
                <a:prstClr val="black"/>
              </a:solidFill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altLang="zh-TW" noProof="0"/>
              <a:t>Click to edit Master text styles</a:t>
            </a:r>
          </a:p>
          <a:p>
            <a:pPr lvl="1"/>
            <a:r>
              <a:rPr lang="en-US" altLang="zh-TW" noProof="0"/>
              <a:t>Second level</a:t>
            </a:r>
          </a:p>
          <a:p>
            <a:pPr lvl="2"/>
            <a:r>
              <a:rPr lang="en-US" altLang="zh-TW" noProof="0"/>
              <a:t>Third level</a:t>
            </a:r>
          </a:p>
          <a:p>
            <a:pPr lvl="3"/>
            <a:r>
              <a:rPr lang="en-US" altLang="zh-TW" noProof="0"/>
              <a:t>Fourth level</a:t>
            </a:r>
          </a:p>
          <a:p>
            <a:pPr lvl="4"/>
            <a:r>
              <a:rPr lang="en-US" altLang="zh-TW" noProof="0"/>
              <a:t>Fifth level</a:t>
            </a:r>
            <a:endParaRPr lang="en-GB" noProof="0" dirty="0"/>
          </a:p>
        </p:txBody>
      </p:sp>
      <p:cxnSp>
        <p:nvCxnSpPr>
          <p:cNvPr id="5" name="Gerade Verbindung 4"/>
          <p:cNvCxnSpPr/>
          <p:nvPr/>
        </p:nvCxnSpPr>
        <p:spPr>
          <a:xfrm>
            <a:off x="0" y="971453"/>
            <a:ext cx="12192000" cy="0"/>
          </a:xfrm>
          <a:prstGeom prst="line">
            <a:avLst/>
          </a:prstGeom>
          <a:ln w="12700">
            <a:solidFill>
              <a:srgbClr val="0033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10"/>
          <p:cNvCxnSpPr/>
          <p:nvPr userDrawn="1"/>
        </p:nvCxnSpPr>
        <p:spPr>
          <a:xfrm>
            <a:off x="0" y="971453"/>
            <a:ext cx="12192000" cy="0"/>
          </a:xfrm>
          <a:prstGeom prst="line">
            <a:avLst/>
          </a:prstGeom>
          <a:ln w="12700">
            <a:solidFill>
              <a:srgbClr val="0033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5924" y="6578958"/>
            <a:ext cx="840360" cy="190510"/>
          </a:xfrm>
          <a:prstGeom prst="rect">
            <a:avLst/>
          </a:prstGeom>
        </p:spPr>
      </p:pic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0DDFAE-3DA3-4218-ADED-A2CB89D0520B}" type="datetime1">
              <a:rPr lang="en-GB" smtClean="0">
                <a:solidFill>
                  <a:prstClr val="white">
                    <a:lumMod val="50000"/>
                  </a:prstClr>
                </a:solidFill>
              </a:rPr>
              <a:pPr/>
              <a:t>14/12/2021</a:t>
            </a:fld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3B55C4-4F5A-416B-997D-6CE47EB0A945}" type="slidenum">
              <a:rPr lang="en-GB" smtClean="0">
                <a:solidFill>
                  <a:prstClr val="white">
                    <a:lumMod val="50000"/>
                  </a:prstClr>
                </a:solidFill>
              </a:rPr>
              <a:pPr/>
              <a:t>‹#›</a:t>
            </a:fld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4" name="Titel 13"/>
          <p:cNvSpPr>
            <a:spLocks noGrp="1"/>
          </p:cNvSpPr>
          <p:nvPr>
            <p:ph type="title"/>
          </p:nvPr>
        </p:nvSpPr>
        <p:spPr>
          <a:xfrm>
            <a:off x="490100" y="153349"/>
            <a:ext cx="11211800" cy="553998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 altLang="zh-TW"/>
              <a:t>Click to edit Master title sty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461493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page_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11"/>
          <p:cNvSpPr/>
          <p:nvPr userDrawn="1"/>
        </p:nvSpPr>
        <p:spPr>
          <a:xfrm>
            <a:off x="0" y="2928494"/>
            <a:ext cx="12192000" cy="3929507"/>
          </a:xfrm>
          <a:prstGeom prst="rect">
            <a:avLst/>
          </a:prstGeom>
          <a:gradFill>
            <a:gsLst>
              <a:gs pos="0">
                <a:srgbClr val="6699CC">
                  <a:alpha val="40000"/>
                </a:srgbClr>
              </a:gs>
              <a:gs pos="100000">
                <a:srgbClr val="FFFFFF"/>
              </a:gs>
            </a:gsLst>
            <a:lin ang="162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sz="1400" dirty="0">
              <a:solidFill>
                <a:prstClr val="black"/>
              </a:solidFill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altLang="zh-TW" noProof="0"/>
              <a:t>Click to edit Master text styles</a:t>
            </a:r>
          </a:p>
          <a:p>
            <a:pPr lvl="1"/>
            <a:r>
              <a:rPr lang="en-US" altLang="zh-TW" noProof="0"/>
              <a:t>Second level</a:t>
            </a:r>
          </a:p>
          <a:p>
            <a:pPr lvl="2"/>
            <a:r>
              <a:rPr lang="en-US" altLang="zh-TW" noProof="0"/>
              <a:t>Third level</a:t>
            </a:r>
          </a:p>
          <a:p>
            <a:pPr lvl="3"/>
            <a:r>
              <a:rPr lang="en-US" altLang="zh-TW" noProof="0"/>
              <a:t>Fourth level</a:t>
            </a:r>
          </a:p>
          <a:p>
            <a:pPr lvl="4"/>
            <a:r>
              <a:rPr lang="en-US" altLang="zh-TW" noProof="0"/>
              <a:t>Fifth level</a:t>
            </a:r>
            <a:endParaRPr lang="en-GB" noProof="0" dirty="0"/>
          </a:p>
        </p:txBody>
      </p:sp>
      <p:cxnSp>
        <p:nvCxnSpPr>
          <p:cNvPr id="5" name="Gerade Verbindung 4"/>
          <p:cNvCxnSpPr/>
          <p:nvPr/>
        </p:nvCxnSpPr>
        <p:spPr>
          <a:xfrm>
            <a:off x="0" y="971453"/>
            <a:ext cx="12192000" cy="0"/>
          </a:xfrm>
          <a:prstGeom prst="line">
            <a:avLst/>
          </a:prstGeom>
          <a:ln w="12700">
            <a:solidFill>
              <a:srgbClr val="0033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10"/>
          <p:cNvCxnSpPr/>
          <p:nvPr userDrawn="1"/>
        </p:nvCxnSpPr>
        <p:spPr>
          <a:xfrm>
            <a:off x="0" y="971453"/>
            <a:ext cx="12192000" cy="0"/>
          </a:xfrm>
          <a:prstGeom prst="line">
            <a:avLst/>
          </a:prstGeom>
          <a:ln w="12700">
            <a:solidFill>
              <a:srgbClr val="0033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5924" y="6578958"/>
            <a:ext cx="840360" cy="190510"/>
          </a:xfrm>
          <a:prstGeom prst="rect">
            <a:avLst/>
          </a:prstGeom>
        </p:spPr>
      </p:pic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/>
              <a:t>Click to edit Master title style</a:t>
            </a:r>
            <a:endParaRPr lang="de-DE"/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0DDFAE-3DA3-4218-ADED-A2CB89D0520B}" type="datetime1">
              <a:rPr lang="en-GB" smtClean="0">
                <a:solidFill>
                  <a:prstClr val="white">
                    <a:lumMod val="50000"/>
                  </a:prstClr>
                </a:solidFill>
              </a:rPr>
              <a:pPr/>
              <a:t>14/12/2021</a:t>
            </a:fld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3B55C4-4F5A-416B-997D-6CE47EB0A945}" type="slidenum">
              <a:rPr lang="en-GB" smtClean="0">
                <a:solidFill>
                  <a:prstClr val="white">
                    <a:lumMod val="50000"/>
                  </a:prstClr>
                </a:solidFill>
              </a:rPr>
              <a:pPr/>
              <a:t>‹#›</a:t>
            </a:fld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188059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page_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11"/>
          <p:cNvSpPr/>
          <p:nvPr userDrawn="1"/>
        </p:nvSpPr>
        <p:spPr>
          <a:xfrm>
            <a:off x="0" y="2928494"/>
            <a:ext cx="12192000" cy="3929507"/>
          </a:xfrm>
          <a:prstGeom prst="rect">
            <a:avLst/>
          </a:prstGeom>
          <a:gradFill>
            <a:gsLst>
              <a:gs pos="0">
                <a:srgbClr val="6699CC">
                  <a:alpha val="40000"/>
                </a:srgbClr>
              </a:gs>
              <a:gs pos="100000">
                <a:srgbClr val="FFFFFF"/>
              </a:gs>
            </a:gsLst>
            <a:lin ang="162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sz="1400" dirty="0">
              <a:solidFill>
                <a:prstClr val="black"/>
              </a:solidFill>
            </a:endParaRPr>
          </a:p>
        </p:txBody>
      </p:sp>
      <p:cxnSp>
        <p:nvCxnSpPr>
          <p:cNvPr id="5" name="Gerade Verbindung 4"/>
          <p:cNvCxnSpPr/>
          <p:nvPr/>
        </p:nvCxnSpPr>
        <p:spPr>
          <a:xfrm>
            <a:off x="0" y="971453"/>
            <a:ext cx="12192000" cy="0"/>
          </a:xfrm>
          <a:prstGeom prst="line">
            <a:avLst/>
          </a:prstGeom>
          <a:ln w="12700">
            <a:solidFill>
              <a:srgbClr val="0033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10"/>
          <p:cNvCxnSpPr/>
          <p:nvPr userDrawn="1"/>
        </p:nvCxnSpPr>
        <p:spPr>
          <a:xfrm>
            <a:off x="0" y="971453"/>
            <a:ext cx="12192000" cy="0"/>
          </a:xfrm>
          <a:prstGeom prst="line">
            <a:avLst/>
          </a:prstGeom>
          <a:ln w="12700">
            <a:solidFill>
              <a:srgbClr val="0033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Inhaltsplatzhalter 2"/>
          <p:cNvSpPr>
            <a:spLocks noGrp="1"/>
          </p:cNvSpPr>
          <p:nvPr>
            <p:ph idx="1"/>
          </p:nvPr>
        </p:nvSpPr>
        <p:spPr>
          <a:xfrm>
            <a:off x="2362098" y="1600202"/>
            <a:ext cx="7488001" cy="4525963"/>
          </a:xfrm>
        </p:spPr>
        <p:txBody>
          <a:bodyPr/>
          <a:lstStyle>
            <a:lvl1pPr marL="0" indent="0">
              <a:spcBef>
                <a:spcPts val="600"/>
              </a:spcBef>
              <a:buNone/>
              <a:defRPr/>
            </a:lvl1pPr>
            <a:lvl2pPr marL="182563" indent="-182563">
              <a:spcBef>
                <a:spcPts val="600"/>
              </a:spcBef>
              <a:buFont typeface="BISans" panose="02000503040000020004" pitchFamily="2" charset="0"/>
              <a:buChar char="•"/>
              <a:defRPr/>
            </a:lvl2pPr>
            <a:lvl3pPr marL="358775" indent="-176213">
              <a:buFont typeface="Arial" panose="020B0604020202020204" pitchFamily="34" charset="0"/>
              <a:buChar char="–"/>
              <a:defRPr/>
            </a:lvl3pPr>
          </a:lstStyle>
          <a:p>
            <a:pPr lvl="0"/>
            <a:r>
              <a:rPr lang="en-US" altLang="zh-TW" noProof="0"/>
              <a:t>Click to edit Master text styles</a:t>
            </a:r>
          </a:p>
          <a:p>
            <a:pPr lvl="1"/>
            <a:r>
              <a:rPr lang="en-US" altLang="zh-TW" noProof="0"/>
              <a:t>Second level</a:t>
            </a:r>
          </a:p>
          <a:p>
            <a:pPr lvl="2"/>
            <a:r>
              <a:rPr lang="en-US" altLang="zh-TW" noProof="0"/>
              <a:t>Third level</a:t>
            </a:r>
          </a:p>
        </p:txBody>
      </p: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5924" y="6578958"/>
            <a:ext cx="840360" cy="190510"/>
          </a:xfrm>
          <a:prstGeom prst="rect">
            <a:avLst/>
          </a:prstGeom>
        </p:spPr>
      </p:pic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96B648-F09C-46E0-BD0F-02867C1BCA59}" type="datetime1">
              <a:rPr lang="en-GB" smtClean="0">
                <a:solidFill>
                  <a:prstClr val="white">
                    <a:lumMod val="50000"/>
                  </a:prstClr>
                </a:solidFill>
              </a:rPr>
              <a:pPr/>
              <a:t>14/12/2021</a:t>
            </a:fld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3B55C4-4F5A-416B-997D-6CE47EB0A945}" type="slidenum">
              <a:rPr lang="en-GB" smtClean="0">
                <a:solidFill>
                  <a:prstClr val="white">
                    <a:lumMod val="50000"/>
                  </a:prstClr>
                </a:solidFill>
              </a:rPr>
              <a:pPr/>
              <a:t>‹#›</a:t>
            </a:fld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/>
              <a:t>Click to edit Master title styl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625181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gram slide_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hteck 13"/>
          <p:cNvSpPr/>
          <p:nvPr userDrawn="1"/>
        </p:nvSpPr>
        <p:spPr>
          <a:xfrm>
            <a:off x="0" y="2928494"/>
            <a:ext cx="12192000" cy="3929507"/>
          </a:xfrm>
          <a:prstGeom prst="rect">
            <a:avLst/>
          </a:prstGeom>
          <a:gradFill>
            <a:gsLst>
              <a:gs pos="0">
                <a:srgbClr val="6699CC">
                  <a:alpha val="40000"/>
                </a:srgbClr>
              </a:gs>
              <a:gs pos="100000">
                <a:srgbClr val="FFFFFF"/>
              </a:gs>
            </a:gsLst>
            <a:lin ang="162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sz="1400" dirty="0">
              <a:solidFill>
                <a:prstClr val="black"/>
              </a:solidFill>
            </a:endParaRPr>
          </a:p>
        </p:txBody>
      </p:sp>
      <p:sp>
        <p:nvSpPr>
          <p:cNvPr id="15" name="Rechteck 14"/>
          <p:cNvSpPr/>
          <p:nvPr userDrawn="1"/>
        </p:nvSpPr>
        <p:spPr>
          <a:xfrm>
            <a:off x="0" y="1380788"/>
            <a:ext cx="12192000" cy="3929507"/>
          </a:xfrm>
          <a:prstGeom prst="rect">
            <a:avLst/>
          </a:prstGeom>
          <a:gradFill>
            <a:gsLst>
              <a:gs pos="0">
                <a:srgbClr val="6699CC">
                  <a:alpha val="40000"/>
                </a:srgbClr>
              </a:gs>
              <a:gs pos="100000">
                <a:srgbClr val="FFFFFF"/>
              </a:gs>
            </a:gsLst>
            <a:lin ang="162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sz="1400" dirty="0">
              <a:solidFill>
                <a:prstClr val="black"/>
              </a:solidFill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90101" y="1600202"/>
            <a:ext cx="3912567" cy="3710092"/>
          </a:xfrm>
        </p:spPr>
        <p:txBody>
          <a:bodyPr/>
          <a:lstStyle/>
          <a:p>
            <a:pPr lvl="0"/>
            <a:r>
              <a:rPr lang="en-US" altLang="zh-TW" noProof="0"/>
              <a:t>Click to edit Master text styles</a:t>
            </a:r>
          </a:p>
          <a:p>
            <a:pPr lvl="1"/>
            <a:r>
              <a:rPr lang="en-US" altLang="zh-TW" noProof="0"/>
              <a:t>Second level</a:t>
            </a:r>
          </a:p>
          <a:p>
            <a:pPr lvl="2"/>
            <a:r>
              <a:rPr lang="en-US" altLang="zh-TW" noProof="0"/>
              <a:t>Third level</a:t>
            </a:r>
          </a:p>
          <a:p>
            <a:pPr lvl="3"/>
            <a:r>
              <a:rPr lang="en-US" altLang="zh-TW" noProof="0"/>
              <a:t>Fourth level</a:t>
            </a:r>
          </a:p>
          <a:p>
            <a:pPr lvl="4"/>
            <a:r>
              <a:rPr lang="en-US" altLang="zh-TW" noProof="0"/>
              <a:t>Fifth level</a:t>
            </a:r>
            <a:endParaRPr lang="en-GB" noProof="0" dirty="0"/>
          </a:p>
        </p:txBody>
      </p:sp>
      <p:cxnSp>
        <p:nvCxnSpPr>
          <p:cNvPr id="5" name="Gerade Verbindung 4"/>
          <p:cNvCxnSpPr/>
          <p:nvPr/>
        </p:nvCxnSpPr>
        <p:spPr>
          <a:xfrm>
            <a:off x="0" y="971453"/>
            <a:ext cx="12192000" cy="0"/>
          </a:xfrm>
          <a:prstGeom prst="line">
            <a:avLst/>
          </a:prstGeom>
          <a:ln w="12700">
            <a:solidFill>
              <a:srgbClr val="0033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12"/>
          <p:cNvCxnSpPr/>
          <p:nvPr userDrawn="1"/>
        </p:nvCxnSpPr>
        <p:spPr>
          <a:xfrm>
            <a:off x="0" y="971453"/>
            <a:ext cx="12192000" cy="0"/>
          </a:xfrm>
          <a:prstGeom prst="line">
            <a:avLst/>
          </a:prstGeom>
          <a:ln w="12700">
            <a:solidFill>
              <a:srgbClr val="0033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5924" y="6578958"/>
            <a:ext cx="840360" cy="190510"/>
          </a:xfrm>
          <a:prstGeom prst="rect">
            <a:avLst/>
          </a:prstGeom>
        </p:spPr>
      </p:pic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5750B4-0A56-4E6B-AADC-5777FA1C2983}" type="datetime1">
              <a:rPr lang="en-GB" smtClean="0">
                <a:solidFill>
                  <a:prstClr val="white">
                    <a:lumMod val="50000"/>
                  </a:prstClr>
                </a:solidFill>
              </a:rPr>
              <a:pPr/>
              <a:t>14/12/2021</a:t>
            </a:fld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3B55C4-4F5A-416B-997D-6CE47EB0A945}" type="slidenum">
              <a:rPr lang="en-GB" smtClean="0">
                <a:solidFill>
                  <a:prstClr val="white">
                    <a:lumMod val="50000"/>
                  </a:prstClr>
                </a:solidFill>
              </a:rPr>
              <a:pPr/>
              <a:t>‹#›</a:t>
            </a:fld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/>
              <a:t>Click to edit Master title styl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623641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lide_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11"/>
          <p:cNvSpPr/>
          <p:nvPr userDrawn="1"/>
        </p:nvSpPr>
        <p:spPr>
          <a:xfrm>
            <a:off x="0" y="2928494"/>
            <a:ext cx="12192000" cy="3929507"/>
          </a:xfrm>
          <a:prstGeom prst="rect">
            <a:avLst/>
          </a:prstGeom>
          <a:gradFill>
            <a:gsLst>
              <a:gs pos="0">
                <a:srgbClr val="6699CC">
                  <a:alpha val="40000"/>
                </a:srgbClr>
              </a:gs>
              <a:gs pos="100000">
                <a:srgbClr val="FFFFFF"/>
              </a:gs>
            </a:gsLst>
            <a:lin ang="162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sz="1400" dirty="0">
              <a:solidFill>
                <a:prstClr val="black"/>
              </a:solidFill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2362102" y="1935251"/>
            <a:ext cx="6754212" cy="1231106"/>
          </a:xfrm>
        </p:spPr>
        <p:txBody>
          <a:bodyPr>
            <a:sp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altLang="zh-TW" noProof="0"/>
              <a:t>Click to edit Master text styles</a:t>
            </a:r>
          </a:p>
          <a:p>
            <a:pPr lvl="1"/>
            <a:r>
              <a:rPr lang="en-US" altLang="zh-TW" noProof="0"/>
              <a:t>Second level</a:t>
            </a:r>
          </a:p>
          <a:p>
            <a:pPr lvl="2"/>
            <a:r>
              <a:rPr lang="en-US" altLang="zh-TW" noProof="0"/>
              <a:t>Third level</a:t>
            </a:r>
          </a:p>
          <a:p>
            <a:pPr lvl="3"/>
            <a:r>
              <a:rPr lang="en-US" altLang="zh-TW" noProof="0"/>
              <a:t>Fourth level</a:t>
            </a:r>
          </a:p>
          <a:p>
            <a:pPr lvl="4"/>
            <a:r>
              <a:rPr lang="en-US" altLang="zh-TW" noProof="0"/>
              <a:t>Fifth level</a:t>
            </a:r>
            <a:endParaRPr lang="en-GB" noProof="0" dirty="0"/>
          </a:p>
        </p:txBody>
      </p:sp>
      <p:sp>
        <p:nvSpPr>
          <p:cNvPr id="15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-226475" y="1038415"/>
            <a:ext cx="2318400" cy="1738800"/>
          </a:xfrm>
          <a:prstGeom prst="ellipse">
            <a:avLst/>
          </a:prstGeom>
          <a:solidFill>
            <a:srgbClr val="6699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>
            <a:lvl1pPr marL="0" indent="0" algn="ctr">
              <a:buNone/>
              <a:defRPr lang="en-US" sz="2000" dirty="0" smtClean="0">
                <a:solidFill>
                  <a:schemeClr val="bg1"/>
                </a:solidFill>
                <a:latin typeface="+mj-lt"/>
              </a:defRPr>
            </a:lvl1pPr>
          </a:lstStyle>
          <a:p>
            <a:pPr marL="0" lvl="0" algn="ctr"/>
            <a:r>
              <a:rPr lang="en-GB" noProof="0" dirty="0"/>
              <a:t>Add. info [font size variable]</a:t>
            </a:r>
          </a:p>
        </p:txBody>
      </p:sp>
      <p:cxnSp>
        <p:nvCxnSpPr>
          <p:cNvPr id="6" name="Gerade Verbindung 5"/>
          <p:cNvCxnSpPr/>
          <p:nvPr/>
        </p:nvCxnSpPr>
        <p:spPr>
          <a:xfrm>
            <a:off x="0" y="1691647"/>
            <a:ext cx="12192000" cy="0"/>
          </a:xfrm>
          <a:prstGeom prst="line">
            <a:avLst/>
          </a:prstGeom>
          <a:ln w="12700">
            <a:solidFill>
              <a:srgbClr val="FF99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10"/>
          <p:cNvCxnSpPr/>
          <p:nvPr userDrawn="1"/>
        </p:nvCxnSpPr>
        <p:spPr>
          <a:xfrm>
            <a:off x="0" y="1691647"/>
            <a:ext cx="12192000" cy="0"/>
          </a:xfrm>
          <a:prstGeom prst="line">
            <a:avLst/>
          </a:prstGeom>
          <a:ln w="12700">
            <a:solidFill>
              <a:srgbClr val="FF99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5924" y="6578958"/>
            <a:ext cx="840360" cy="190510"/>
          </a:xfrm>
          <a:prstGeom prst="rect">
            <a:avLst/>
          </a:prstGeom>
        </p:spPr>
      </p:pic>
      <p:sp>
        <p:nvSpPr>
          <p:cNvPr id="4" name="Datumsplatzhalter 3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296EA654-ECD7-471A-8536-99948A30C4BB}" type="datetime1">
              <a:rPr lang="en-GB" smtClean="0">
                <a:solidFill>
                  <a:prstClr val="white">
                    <a:lumMod val="50000"/>
                  </a:prstClr>
                </a:solidFill>
              </a:rPr>
              <a:pPr/>
              <a:t>14/12/2021</a:t>
            </a:fld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143B55C4-4F5A-416B-997D-6CE47EB0A945}" type="slidenum">
              <a:rPr lang="en-GB" smtClean="0">
                <a:solidFill>
                  <a:prstClr val="white">
                    <a:lumMod val="50000"/>
                  </a:prstClr>
                </a:solidFill>
              </a:rPr>
              <a:pPr/>
              <a:t>‹#›</a:t>
            </a:fld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2362102" y="756761"/>
            <a:ext cx="6754213" cy="369332"/>
          </a:xfrm>
        </p:spPr>
        <p:txBody>
          <a:bodyPr/>
          <a:lstStyle/>
          <a:p>
            <a:r>
              <a:rPr lang="en-US" altLang="zh-TW"/>
              <a:t>Click to edit Master title sty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471185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rganisational chart_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/>
          <p:cNvSpPr/>
          <p:nvPr userDrawn="1"/>
        </p:nvSpPr>
        <p:spPr>
          <a:xfrm>
            <a:off x="0" y="2928494"/>
            <a:ext cx="12192000" cy="3929507"/>
          </a:xfrm>
          <a:prstGeom prst="rect">
            <a:avLst/>
          </a:prstGeom>
          <a:gradFill>
            <a:gsLst>
              <a:gs pos="0">
                <a:srgbClr val="6699CC">
                  <a:alpha val="40000"/>
                </a:srgbClr>
              </a:gs>
              <a:gs pos="100000">
                <a:srgbClr val="FFFFFF"/>
              </a:gs>
            </a:gsLst>
            <a:lin ang="162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sz="1400" dirty="0">
              <a:solidFill>
                <a:prstClr val="black"/>
              </a:solidFill>
            </a:endParaRPr>
          </a:p>
        </p:txBody>
      </p:sp>
      <p:cxnSp>
        <p:nvCxnSpPr>
          <p:cNvPr id="5" name="Gerade Verbindung 4"/>
          <p:cNvCxnSpPr/>
          <p:nvPr/>
        </p:nvCxnSpPr>
        <p:spPr>
          <a:xfrm>
            <a:off x="0" y="2492389"/>
            <a:ext cx="12192000" cy="0"/>
          </a:xfrm>
          <a:prstGeom prst="line">
            <a:avLst/>
          </a:prstGeom>
          <a:ln w="12700">
            <a:solidFill>
              <a:srgbClr val="6699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Gerade Verbindung 9"/>
          <p:cNvCxnSpPr/>
          <p:nvPr userDrawn="1"/>
        </p:nvCxnSpPr>
        <p:spPr>
          <a:xfrm>
            <a:off x="0" y="2492389"/>
            <a:ext cx="12192000" cy="0"/>
          </a:xfrm>
          <a:prstGeom prst="line">
            <a:avLst/>
          </a:prstGeom>
          <a:ln w="12700">
            <a:solidFill>
              <a:srgbClr val="6699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5924" y="6578958"/>
            <a:ext cx="840360" cy="190510"/>
          </a:xfrm>
          <a:prstGeom prst="rect">
            <a:avLst/>
          </a:prstGeom>
        </p:spPr>
      </p:pic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D98D82-2CA0-4C64-8F52-ED1E564820AE}" type="datetime1">
              <a:rPr lang="en-GB" smtClean="0">
                <a:solidFill>
                  <a:prstClr val="white">
                    <a:lumMod val="50000"/>
                  </a:prstClr>
                </a:solidFill>
              </a:rPr>
              <a:pPr/>
              <a:t>14/12/2021</a:t>
            </a:fld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3B55C4-4F5A-416B-997D-6CE47EB0A945}" type="slidenum">
              <a:rPr lang="en-GB" smtClean="0">
                <a:solidFill>
                  <a:prstClr val="white">
                    <a:lumMod val="50000"/>
                  </a:prstClr>
                </a:solidFill>
              </a:rPr>
              <a:pPr/>
              <a:t>‹#›</a:t>
            </a:fld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/>
              <a:t>Click to edit Master title styl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772377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-al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 userDrawn="1"/>
        </p:nvSpPr>
        <p:spPr>
          <a:xfrm>
            <a:off x="0" y="2928494"/>
            <a:ext cx="12192000" cy="3929507"/>
          </a:xfrm>
          <a:prstGeom prst="rect">
            <a:avLst/>
          </a:prstGeom>
          <a:gradFill>
            <a:gsLst>
              <a:gs pos="0">
                <a:srgbClr val="6699CC">
                  <a:alpha val="40000"/>
                </a:srgbClr>
              </a:gs>
              <a:gs pos="100000">
                <a:srgbClr val="FFFFFF"/>
              </a:gs>
            </a:gsLst>
            <a:lin ang="162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sz="1400" dirty="0">
              <a:solidFill>
                <a:prstClr val="black"/>
              </a:solidFill>
            </a:endParaRP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C471A6-68F5-46F4-AB55-274B9534F60C}" type="datetime1">
              <a:rPr lang="en-GB" smtClean="0">
                <a:solidFill>
                  <a:prstClr val="white">
                    <a:lumMod val="50000"/>
                  </a:prstClr>
                </a:solidFill>
              </a:rPr>
              <a:pPr/>
              <a:t>14/12/2021</a:t>
            </a:fld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3B55C4-4F5A-416B-997D-6CE47EB0A945}" type="slidenum">
              <a:rPr lang="en-GB" smtClean="0">
                <a:solidFill>
                  <a:prstClr val="white">
                    <a:lumMod val="50000"/>
                  </a:prstClr>
                </a:solidFill>
              </a:rPr>
              <a:pPr/>
              <a:t>‹#›</a:t>
            </a:fld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cxnSp>
        <p:nvCxnSpPr>
          <p:cNvPr id="7" name="Gerade Verbindung 6"/>
          <p:cNvCxnSpPr/>
          <p:nvPr userDrawn="1"/>
        </p:nvCxnSpPr>
        <p:spPr>
          <a:xfrm>
            <a:off x="0" y="971453"/>
            <a:ext cx="12192000" cy="0"/>
          </a:xfrm>
          <a:prstGeom prst="line">
            <a:avLst/>
          </a:prstGeom>
          <a:ln w="12700">
            <a:solidFill>
              <a:srgbClr val="0033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285422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36pt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90100" y="104583"/>
            <a:ext cx="11211800" cy="553998"/>
          </a:xfrm>
        </p:spPr>
        <p:txBody>
          <a:bodyPr/>
          <a:lstStyle>
            <a:lvl1pPr>
              <a:defRPr sz="3600">
                <a:solidFill>
                  <a:srgbClr val="003366"/>
                </a:solidFill>
              </a:defRPr>
            </a:lvl1pPr>
          </a:lstStyle>
          <a:p>
            <a:r>
              <a:rPr lang="en-US" altLang="zh-TW" noProof="0"/>
              <a:t>Click to edit Master title style</a:t>
            </a:r>
            <a:endParaRPr lang="en-GB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altLang="zh-TW" noProof="0"/>
              <a:t>Click to edit Master text styles</a:t>
            </a:r>
          </a:p>
          <a:p>
            <a:pPr lvl="1"/>
            <a:r>
              <a:rPr lang="en-US" altLang="zh-TW" noProof="0"/>
              <a:t>Second level</a:t>
            </a:r>
          </a:p>
          <a:p>
            <a:pPr lvl="2"/>
            <a:r>
              <a:rPr lang="en-US" altLang="zh-TW" noProof="0"/>
              <a:t>Third level</a:t>
            </a:r>
          </a:p>
          <a:p>
            <a:pPr lvl="3"/>
            <a:r>
              <a:rPr lang="en-US" altLang="zh-TW" noProof="0"/>
              <a:t>Fourth level</a:t>
            </a:r>
          </a:p>
          <a:p>
            <a:pPr lvl="4"/>
            <a:r>
              <a:rPr lang="en-US" altLang="zh-TW" noProof="0"/>
              <a:t>Fifth level</a:t>
            </a:r>
            <a:endParaRPr lang="en-GB" noProof="0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F327B5-4F46-4E52-AD59-88A207270947}" type="datetime1">
              <a:rPr lang="en-GB" smtClean="0">
                <a:solidFill>
                  <a:prstClr val="white">
                    <a:lumMod val="50000"/>
                  </a:prstClr>
                </a:solidFill>
              </a:rPr>
              <a:pPr/>
              <a:t>14/12/2021</a:t>
            </a:fld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3B55C4-4F5A-416B-997D-6CE47EB0A945}" type="slidenum">
              <a:rPr lang="en-GB" smtClean="0">
                <a:solidFill>
                  <a:prstClr val="white">
                    <a:lumMod val="50000"/>
                  </a:prstClr>
                </a:solidFill>
              </a:rPr>
              <a:pPr/>
              <a:t>‹#›</a:t>
            </a:fld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cxnSp>
        <p:nvCxnSpPr>
          <p:cNvPr id="7" name="Gerade Verbindung 6"/>
          <p:cNvCxnSpPr/>
          <p:nvPr userDrawn="1"/>
        </p:nvCxnSpPr>
        <p:spPr>
          <a:xfrm>
            <a:off x="0" y="971453"/>
            <a:ext cx="12192000" cy="0"/>
          </a:xfrm>
          <a:prstGeom prst="line">
            <a:avLst/>
          </a:prstGeom>
          <a:ln w="12700">
            <a:solidFill>
              <a:srgbClr val="0033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724624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60" imgH="360" progId="TCLayout.ActiveDocument.1">
                  <p:embed/>
                </p:oleObj>
              </mc:Choice>
              <mc:Fallback>
                <p:oleObj name="think-cell Slide" r:id="rId7" imgW="360" imgH="360" progId="TCLayout.ActiveDocument.1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6"/>
          <p:cNvSpPr>
            <a:spLocks noGrp="1"/>
          </p:cNvSpPr>
          <p:nvPr>
            <p:ph type="body" sz="quarter" idx="12"/>
            <p:custDataLst>
              <p:tags r:id="rId2"/>
            </p:custDataLst>
          </p:nvPr>
        </p:nvSpPr>
        <p:spPr>
          <a:xfrm>
            <a:off x="478367" y="1258888"/>
            <a:ext cx="11245851" cy="4865687"/>
          </a:xfrm>
        </p:spPr>
        <p:txBody>
          <a:bodyPr/>
          <a:lstStyle>
            <a:lvl1pPr>
              <a:buClr>
                <a:schemeClr val="accent1"/>
              </a:buClr>
              <a:defRPr>
                <a:latin typeface="Calibri" pitchFamily="34" charset="0"/>
              </a:defRPr>
            </a:lvl1pPr>
            <a:lvl2pPr>
              <a:buClr>
                <a:schemeClr val="accent1"/>
              </a:buClr>
              <a:defRPr>
                <a:latin typeface="Calibri" pitchFamily="34" charset="0"/>
              </a:defRPr>
            </a:lvl2pPr>
            <a:lvl3pPr>
              <a:buClr>
                <a:schemeClr val="accent1"/>
              </a:buClr>
              <a:defRPr>
                <a:latin typeface="Calibri" pitchFamily="34" charset="0"/>
              </a:defRPr>
            </a:lvl3pPr>
            <a:lvl4pPr>
              <a:buClr>
                <a:schemeClr val="accent1"/>
              </a:buClr>
              <a:defRPr>
                <a:latin typeface="Calibri" pitchFamily="34" charset="0"/>
              </a:defRPr>
            </a:lvl4pPr>
            <a:lvl5pPr>
              <a:buClr>
                <a:schemeClr val="accent1"/>
              </a:buClr>
              <a:defRPr>
                <a:latin typeface="Calibri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>
            <a:lvl1pPr>
              <a:defRPr>
                <a:latin typeface="Calibri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  <p:custDataLst>
              <p:tags r:id="rId4"/>
            </p:custDataLst>
          </p:nvPr>
        </p:nvSpPr>
        <p:spPr/>
        <p:txBody>
          <a:bodyPr/>
          <a:lstStyle>
            <a:lvl1pPr>
              <a:defRPr>
                <a:latin typeface="Calibri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  <p:custDataLst>
              <p:tags r:id="rId5"/>
            </p:custDataLst>
          </p:nvPr>
        </p:nvSpPr>
        <p:spPr/>
        <p:txBody>
          <a:bodyPr/>
          <a:lstStyle>
            <a:lvl1pPr>
              <a:defRPr>
                <a:latin typeface="Calibri" pitchFamily="34" charset="0"/>
              </a:defRPr>
            </a:lvl1pPr>
          </a:lstStyle>
          <a:p>
            <a:r>
              <a:rPr lang="en-US" dirty="0"/>
              <a:t> Business Review Template - Confidential</a:t>
            </a:r>
          </a:p>
        </p:txBody>
      </p:sp>
    </p:spTree>
    <p:extLst>
      <p:ext uri="{BB962C8B-B14F-4D97-AF65-F5344CB8AC3E}">
        <p14:creationId xmlns:p14="http://schemas.microsoft.com/office/powerpoint/2010/main" val="3886194392"/>
      </p:ext>
    </p:extLst>
  </p:cSld>
  <p:clrMapOvr>
    <a:masterClrMapping/>
  </p:clrMapOvr>
  <p:transition spd="med"/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24pt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90100" y="153349"/>
            <a:ext cx="11211800" cy="369332"/>
          </a:xfrm>
        </p:spPr>
        <p:txBody>
          <a:bodyPr/>
          <a:lstStyle>
            <a:lvl1pPr>
              <a:defRPr sz="2400">
                <a:solidFill>
                  <a:srgbClr val="003366"/>
                </a:solidFill>
              </a:defRPr>
            </a:lvl1pPr>
          </a:lstStyle>
          <a:p>
            <a:r>
              <a:rPr lang="en-US" altLang="zh-TW" noProof="0"/>
              <a:t>Click to edit Master title style</a:t>
            </a:r>
            <a:endParaRPr lang="en-GB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altLang="zh-TW" noProof="0"/>
              <a:t>Click to edit Master text styles</a:t>
            </a:r>
          </a:p>
          <a:p>
            <a:pPr lvl="1"/>
            <a:r>
              <a:rPr lang="en-US" altLang="zh-TW" noProof="0"/>
              <a:t>Second level</a:t>
            </a:r>
          </a:p>
          <a:p>
            <a:pPr lvl="2"/>
            <a:r>
              <a:rPr lang="en-US" altLang="zh-TW" noProof="0"/>
              <a:t>Third level</a:t>
            </a:r>
          </a:p>
          <a:p>
            <a:pPr lvl="3"/>
            <a:r>
              <a:rPr lang="en-US" altLang="zh-TW" noProof="0"/>
              <a:t>Fourth level</a:t>
            </a:r>
          </a:p>
          <a:p>
            <a:pPr lvl="4"/>
            <a:r>
              <a:rPr lang="en-US" altLang="zh-TW" noProof="0"/>
              <a:t>Fifth level</a:t>
            </a:r>
            <a:endParaRPr lang="en-GB" noProof="0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E4B35C-2CFB-4984-B1A5-ABCEC85D20F8}" type="datetime1">
              <a:rPr lang="en-GB" smtClean="0">
                <a:solidFill>
                  <a:prstClr val="white">
                    <a:lumMod val="50000"/>
                  </a:prstClr>
                </a:solidFill>
              </a:rPr>
              <a:pPr/>
              <a:t>14/12/2021</a:t>
            </a:fld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3B55C4-4F5A-416B-997D-6CE47EB0A945}" type="slidenum">
              <a:rPr lang="en-GB" smtClean="0">
                <a:solidFill>
                  <a:prstClr val="white">
                    <a:lumMod val="50000"/>
                  </a:prstClr>
                </a:solidFill>
              </a:rPr>
              <a:pPr/>
              <a:t>‹#›</a:t>
            </a:fld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cxnSp>
        <p:nvCxnSpPr>
          <p:cNvPr id="7" name="Gerade Verbindung 6"/>
          <p:cNvCxnSpPr/>
          <p:nvPr userDrawn="1"/>
        </p:nvCxnSpPr>
        <p:spPr>
          <a:xfrm>
            <a:off x="0" y="971453"/>
            <a:ext cx="12192000" cy="0"/>
          </a:xfrm>
          <a:prstGeom prst="line">
            <a:avLst/>
          </a:prstGeom>
          <a:ln w="12700">
            <a:solidFill>
              <a:srgbClr val="0033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351613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page_0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2362098" y="1600202"/>
            <a:ext cx="7488001" cy="4525963"/>
          </a:xfrm>
        </p:spPr>
        <p:txBody>
          <a:bodyPr/>
          <a:lstStyle>
            <a:lvl1pPr marL="0" indent="0">
              <a:spcBef>
                <a:spcPts val="600"/>
              </a:spcBef>
              <a:buNone/>
              <a:defRPr/>
            </a:lvl1pPr>
            <a:lvl2pPr marL="182563" indent="-182563">
              <a:spcBef>
                <a:spcPts val="600"/>
              </a:spcBef>
              <a:buFont typeface="BISans" panose="02000503040000020004" pitchFamily="2" charset="0"/>
              <a:buChar char="•"/>
              <a:defRPr/>
            </a:lvl2pPr>
            <a:lvl3pPr marL="358775" indent="-176213">
              <a:buFont typeface="Arial" panose="020B0604020202020204" pitchFamily="34" charset="0"/>
              <a:buChar char="–"/>
              <a:defRPr/>
            </a:lvl3pPr>
          </a:lstStyle>
          <a:p>
            <a:pPr lvl="0"/>
            <a:r>
              <a:rPr lang="en-US" altLang="zh-TW" noProof="0"/>
              <a:t>Click to edit Master text styles</a:t>
            </a:r>
          </a:p>
          <a:p>
            <a:pPr lvl="1"/>
            <a:r>
              <a:rPr lang="en-US" altLang="zh-TW" noProof="0"/>
              <a:t>Second level</a:t>
            </a:r>
          </a:p>
          <a:p>
            <a:pPr lvl="2"/>
            <a:r>
              <a:rPr lang="en-US" altLang="zh-TW" noProof="0"/>
              <a:t>Third level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C90F8743-0E6F-41EA-91A8-8122DB0D84F5}" type="datetime1">
              <a:rPr lang="en-GB" smtClean="0">
                <a:solidFill>
                  <a:prstClr val="white">
                    <a:lumMod val="50000"/>
                  </a:prstClr>
                </a:solidFill>
              </a:rPr>
              <a:pPr/>
              <a:t>14/12/2021</a:t>
            </a:fld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143B55C4-4F5A-416B-997D-6CE47EB0A945}" type="slidenum">
              <a:rPr lang="en-GB" smtClean="0">
                <a:solidFill>
                  <a:prstClr val="white">
                    <a:lumMod val="50000"/>
                  </a:prstClr>
                </a:solidFill>
              </a:rPr>
              <a:pPr/>
              <a:t>‹#›</a:t>
            </a:fld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4" name="Titel 1"/>
          <p:cNvSpPr>
            <a:spLocks noGrp="1"/>
          </p:cNvSpPr>
          <p:nvPr>
            <p:ph type="title"/>
          </p:nvPr>
        </p:nvSpPr>
        <p:spPr>
          <a:xfrm>
            <a:off x="490100" y="153349"/>
            <a:ext cx="11211800" cy="369332"/>
          </a:xfrm>
        </p:spPr>
        <p:txBody>
          <a:bodyPr/>
          <a:lstStyle>
            <a:lvl1pPr>
              <a:defRPr sz="2400">
                <a:solidFill>
                  <a:srgbClr val="003366"/>
                </a:solidFill>
              </a:defRPr>
            </a:lvl1pPr>
          </a:lstStyle>
          <a:p>
            <a:r>
              <a:rPr lang="en-US" altLang="zh-TW" noProof="0"/>
              <a:t>Click to edit Master title style</a:t>
            </a:r>
            <a:endParaRPr lang="en-GB" noProof="0" dirty="0"/>
          </a:p>
        </p:txBody>
      </p:sp>
      <p:cxnSp>
        <p:nvCxnSpPr>
          <p:cNvPr id="8" name="Gerade Verbindung 7"/>
          <p:cNvCxnSpPr/>
          <p:nvPr userDrawn="1"/>
        </p:nvCxnSpPr>
        <p:spPr>
          <a:xfrm>
            <a:off x="0" y="971453"/>
            <a:ext cx="12192000" cy="0"/>
          </a:xfrm>
          <a:prstGeom prst="line">
            <a:avLst/>
          </a:prstGeom>
          <a:ln w="12700">
            <a:solidFill>
              <a:srgbClr val="0033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5924" y="6578958"/>
            <a:ext cx="840360" cy="1905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58623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gram slide_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90101" y="1600202"/>
            <a:ext cx="3912567" cy="3710092"/>
          </a:xfrm>
        </p:spPr>
        <p:txBody>
          <a:bodyPr/>
          <a:lstStyle/>
          <a:p>
            <a:pPr lvl="0"/>
            <a:r>
              <a:rPr lang="en-US" altLang="zh-TW" noProof="0"/>
              <a:t>Click to edit Master text styles</a:t>
            </a:r>
          </a:p>
          <a:p>
            <a:pPr lvl="1"/>
            <a:r>
              <a:rPr lang="en-US" altLang="zh-TW" noProof="0"/>
              <a:t>Second level</a:t>
            </a:r>
          </a:p>
          <a:p>
            <a:pPr lvl="2"/>
            <a:r>
              <a:rPr lang="en-US" altLang="zh-TW" noProof="0"/>
              <a:t>Third level</a:t>
            </a:r>
          </a:p>
          <a:p>
            <a:pPr lvl="3"/>
            <a:r>
              <a:rPr lang="en-US" altLang="zh-TW" noProof="0"/>
              <a:t>Fourth level</a:t>
            </a:r>
          </a:p>
          <a:p>
            <a:pPr lvl="4"/>
            <a:r>
              <a:rPr lang="en-US" altLang="zh-TW" noProof="0"/>
              <a:t>Fifth level</a:t>
            </a:r>
            <a:endParaRPr lang="en-GB" noProof="0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78DA1FEC-CBCE-41CB-A00E-A142F817B3A7}" type="datetime1">
              <a:rPr lang="en-GB" smtClean="0">
                <a:solidFill>
                  <a:prstClr val="white">
                    <a:lumMod val="50000"/>
                  </a:prstClr>
                </a:solidFill>
              </a:rPr>
              <a:pPr/>
              <a:t>14/12/2021</a:t>
            </a:fld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143B55C4-4F5A-416B-997D-6CE47EB0A945}" type="slidenum">
              <a:rPr lang="en-GB" smtClean="0">
                <a:solidFill>
                  <a:prstClr val="white">
                    <a:lumMod val="50000"/>
                  </a:prstClr>
                </a:solidFill>
              </a:rPr>
              <a:pPr/>
              <a:t>‹#›</a:t>
            </a:fld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6" name="Titel 1"/>
          <p:cNvSpPr>
            <a:spLocks noGrp="1"/>
          </p:cNvSpPr>
          <p:nvPr>
            <p:ph type="title"/>
          </p:nvPr>
        </p:nvSpPr>
        <p:spPr>
          <a:xfrm>
            <a:off x="490100" y="153349"/>
            <a:ext cx="11211800" cy="369332"/>
          </a:xfrm>
        </p:spPr>
        <p:txBody>
          <a:bodyPr/>
          <a:lstStyle>
            <a:lvl1pPr>
              <a:defRPr sz="2400">
                <a:solidFill>
                  <a:srgbClr val="003366"/>
                </a:solidFill>
              </a:defRPr>
            </a:lvl1pPr>
          </a:lstStyle>
          <a:p>
            <a:r>
              <a:rPr lang="en-US" altLang="zh-TW" noProof="0"/>
              <a:t>Click to edit Master title style</a:t>
            </a:r>
            <a:endParaRPr lang="en-GB" noProof="0" dirty="0"/>
          </a:p>
        </p:txBody>
      </p:sp>
      <p:cxnSp>
        <p:nvCxnSpPr>
          <p:cNvPr id="8" name="Gerade Verbindung 7"/>
          <p:cNvCxnSpPr/>
          <p:nvPr userDrawn="1"/>
        </p:nvCxnSpPr>
        <p:spPr>
          <a:xfrm>
            <a:off x="0" y="971453"/>
            <a:ext cx="12192000" cy="0"/>
          </a:xfrm>
          <a:prstGeom prst="line">
            <a:avLst/>
          </a:prstGeom>
          <a:ln w="12700">
            <a:solidFill>
              <a:srgbClr val="0033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5924" y="6578958"/>
            <a:ext cx="840360" cy="1905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77760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95A03C-FB3C-4331-9FA1-4886C0A46E98}" type="datetime1">
              <a:rPr lang="en-GB" smtClean="0">
                <a:solidFill>
                  <a:prstClr val="white">
                    <a:lumMod val="50000"/>
                  </a:prstClr>
                </a:solidFill>
              </a:rPr>
              <a:pPr/>
              <a:t>14/12/2021</a:t>
            </a:fld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3B55C4-4F5A-416B-997D-6CE47EB0A945}" type="slidenum">
              <a:rPr lang="en-GB" smtClean="0">
                <a:solidFill>
                  <a:prstClr val="white">
                    <a:lumMod val="50000"/>
                  </a:prstClr>
                </a:solidFill>
              </a:rPr>
              <a:pPr/>
              <a:t>‹#›</a:t>
            </a:fld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7765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10938753" y="6597269"/>
            <a:ext cx="64" cy="153888"/>
          </a:xfrm>
        </p:spPr>
        <p:txBody>
          <a:bodyPr/>
          <a:lstStyle>
            <a:lvl1pPr>
              <a:defRPr/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 Business Review Template - Confidential</a:t>
            </a:r>
          </a:p>
        </p:txBody>
      </p:sp>
    </p:spTree>
    <p:extLst>
      <p:ext uri="{BB962C8B-B14F-4D97-AF65-F5344CB8AC3E}">
        <p14:creationId xmlns:p14="http://schemas.microsoft.com/office/powerpoint/2010/main" val="3174910088"/>
      </p:ext>
    </p:extLst>
  </p:cSld>
  <p:clrMapOvr>
    <a:masterClrMapping/>
  </p:clrMapOvr>
  <p:transition spd="med">
    <p:wipe dir="r"/>
  </p:transition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6"/>
          <p:cNvSpPr>
            <a:spLocks noGrp="1"/>
          </p:cNvSpPr>
          <p:nvPr>
            <p:ph type="body" sz="quarter" idx="12"/>
            <p:custDataLst>
              <p:tags r:id="rId2"/>
            </p:custDataLst>
          </p:nvPr>
        </p:nvSpPr>
        <p:spPr>
          <a:xfrm>
            <a:off x="478367" y="1258892"/>
            <a:ext cx="11245851" cy="4865687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  <p:custDataLst>
              <p:tags r:id="rId4"/>
            </p:custDataLst>
          </p:nvPr>
        </p:nvSpPr>
        <p:spPr>
          <a:xfrm>
            <a:off x="10938753" y="6597269"/>
            <a:ext cx="64" cy="153888"/>
          </a:xfrm>
        </p:spPr>
        <p:txBody>
          <a:bodyPr/>
          <a:lstStyle>
            <a:lvl1pPr>
              <a:defRPr/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  <p:custDataLst>
              <p:tags r:id="rId5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 Business Review Template - Confidential</a:t>
            </a:r>
          </a:p>
        </p:txBody>
      </p:sp>
    </p:spTree>
    <p:extLst>
      <p:ext uri="{BB962C8B-B14F-4D97-AF65-F5344CB8AC3E}">
        <p14:creationId xmlns:p14="http://schemas.microsoft.com/office/powerpoint/2010/main" val="39879851"/>
      </p:ext>
    </p:extLst>
  </p:cSld>
  <p:clrMapOvr>
    <a:masterClrMapping/>
  </p:clrMapOvr>
  <p:transition spd="med">
    <p:wipe dir="r"/>
  </p:transition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79585947"/>
              </p:ext>
            </p:extLst>
          </p:nvPr>
        </p:nvGraphicFramePr>
        <p:xfrm>
          <a:off x="1961" y="1593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61" y="1593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6509" y="404664"/>
            <a:ext cx="9879975" cy="369332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27381" y="1412783"/>
            <a:ext cx="11329259" cy="4713387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BISans"/>
              </a:defRPr>
            </a:lvl1pPr>
            <a:lvl2pPr>
              <a:defRPr>
                <a:solidFill>
                  <a:schemeClr val="tx1"/>
                </a:solidFill>
                <a:latin typeface="BISans"/>
              </a:defRPr>
            </a:lvl2pPr>
            <a:lvl3pPr>
              <a:defRPr>
                <a:solidFill>
                  <a:schemeClr val="tx1"/>
                </a:solidFill>
                <a:latin typeface="BISans"/>
              </a:defRPr>
            </a:lvl3pPr>
            <a:lvl4pPr>
              <a:defRPr>
                <a:solidFill>
                  <a:schemeClr val="tx1"/>
                </a:solidFill>
                <a:latin typeface="BISans"/>
              </a:defRPr>
            </a:lvl4pPr>
            <a:lvl5pPr>
              <a:defRPr>
                <a:solidFill>
                  <a:schemeClr val="tx1"/>
                </a:solidFill>
                <a:latin typeface="BISan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5121123" y="6558488"/>
            <a:ext cx="4320480" cy="182880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 anchor="b">
            <a:normAutofit/>
          </a:bodyPr>
          <a:lstStyle>
            <a:lvl1pPr>
              <a:defRPr lang="en-GB" sz="1000" dirty="0">
                <a:solidFill>
                  <a:prstClr val="black">
                    <a:tint val="75000"/>
                  </a:prstClr>
                </a:solidFill>
                <a:latin typeface="BISans"/>
                <a:cs typeface="BISans"/>
              </a:defRPr>
            </a:lvl1pPr>
          </a:lstStyle>
          <a:p>
            <a:pPr>
              <a:spcBef>
                <a:spcPct val="20000"/>
              </a:spcBef>
              <a:buFont typeface="Arial" pitchFamily="34" charset="0"/>
              <a:buNone/>
            </a:pPr>
            <a:r>
              <a:rPr lang="en-US"/>
              <a:t>(R)OPU IBP 2016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633624" y="6558488"/>
            <a:ext cx="864096" cy="182880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 anchor="b">
            <a:normAutofit/>
          </a:bodyPr>
          <a:lstStyle>
            <a:lvl1pPr algn="ctr">
              <a:defRPr lang="en-GB" sz="1000" smtClean="0">
                <a:solidFill>
                  <a:prstClr val="black">
                    <a:tint val="75000"/>
                  </a:prstClr>
                </a:solidFill>
                <a:latin typeface="BISans"/>
                <a:cs typeface="BISans"/>
              </a:defRPr>
            </a:lvl1pPr>
          </a:lstStyle>
          <a:p>
            <a:pPr>
              <a:spcBef>
                <a:spcPct val="20000"/>
              </a:spcBef>
              <a:buFont typeface="Arial" pitchFamily="34" charset="0"/>
              <a:buNone/>
            </a:pPr>
            <a:fld id="{E00C65CE-A437-4E9A-B655-EBDDF8B99677}" type="slidenum">
              <a:rPr lang="en-US"/>
              <a:pPr>
                <a:spcBef>
                  <a:spcPct val="20000"/>
                </a:spcBef>
                <a:buFont typeface="Arial" pitchFamily="34" charset="0"/>
                <a:buNone/>
              </a:pPr>
              <a:t>‹#›</a:t>
            </a:fld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536513" y="6165304"/>
            <a:ext cx="9990756" cy="288032"/>
          </a:xfrm>
          <a:solidFill>
            <a:schemeClr val="bg1"/>
          </a:solidFill>
        </p:spPr>
        <p:txBody>
          <a:bodyPr vert="horz" lIns="0" tIns="0" rIns="0" bIns="0" rtlCol="0" anchor="b"/>
          <a:lstStyle>
            <a:lvl1pPr marL="0" indent="0">
              <a:buNone/>
              <a:defRPr lang="en-US" sz="1000" dirty="0" smtClean="0">
                <a:solidFill>
                  <a:prstClr val="black">
                    <a:tint val="75000"/>
                  </a:prstClr>
                </a:solidFill>
                <a:cs typeface="BISans"/>
              </a:defRPr>
            </a:lvl1pPr>
            <a:lvl2pPr>
              <a:defRPr lang="en-US" sz="1800" dirty="0" smtClean="0">
                <a:latin typeface="+mn-lt"/>
              </a:defRPr>
            </a:lvl2pPr>
            <a:lvl3pPr>
              <a:defRPr lang="en-US" sz="1800" dirty="0" smtClean="0">
                <a:latin typeface="+mn-lt"/>
              </a:defRPr>
            </a:lvl3pPr>
            <a:lvl4pPr>
              <a:defRPr lang="en-US" sz="1800" dirty="0" smtClean="0">
                <a:latin typeface="+mn-lt"/>
              </a:defRPr>
            </a:lvl4pPr>
            <a:lvl5pPr>
              <a:defRPr lang="en-US" sz="1800" dirty="0">
                <a:latin typeface="+mn-lt"/>
              </a:defRPr>
            </a:lvl5pPr>
          </a:lstStyle>
          <a:p>
            <a:pPr marL="0" lvl="0"/>
            <a:r>
              <a:rPr lang="en-US" dirty="0"/>
              <a:t>Note:</a:t>
            </a:r>
            <a:br>
              <a:rPr lang="en-US" dirty="0"/>
            </a:br>
            <a:r>
              <a:rPr lang="en-US" dirty="0"/>
              <a:t>Source:</a:t>
            </a:r>
          </a:p>
        </p:txBody>
      </p:sp>
    </p:spTree>
    <p:extLst>
      <p:ext uri="{BB962C8B-B14F-4D97-AF65-F5344CB8AC3E}">
        <p14:creationId xmlns:p14="http://schemas.microsoft.com/office/powerpoint/2010/main" val="86320108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85599" y="1257301"/>
            <a:ext cx="11040000" cy="4829175"/>
          </a:xfrm>
        </p:spPr>
        <p:txBody>
          <a:bodyPr lIns="0">
            <a:noAutofit/>
          </a:bodyPr>
          <a:lstStyle>
            <a:lvl1pPr marL="342900" marR="0" indent="-342900" algn="l" defTabSz="4572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itchFamily="34" charset="0"/>
              <a:buChar char="•"/>
              <a:tabLst/>
              <a:defRPr sz="2400" baseline="0">
                <a:solidFill>
                  <a:schemeClr val="accent4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 algn="l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Calibri" pitchFamily="34" charset="0"/>
              <a:buChar char="–"/>
              <a:defRPr sz="2000" baseline="0">
                <a:solidFill>
                  <a:schemeClr val="accent4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914400" indent="0" algn="l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•"/>
              <a:defRPr sz="1800">
                <a:solidFill>
                  <a:schemeClr val="accent4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371600" indent="0" algn="l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Calibri" pitchFamily="34" charset="0"/>
              <a:buChar char="–"/>
              <a:defRPr sz="1600">
                <a:solidFill>
                  <a:schemeClr val="accent4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1828800" indent="0" algn="ctr">
              <a:buNone/>
              <a:defRPr>
                <a:solidFill>
                  <a:srgbClr val="07061C"/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 Second level</a:t>
            </a:r>
          </a:p>
          <a:p>
            <a:pPr lvl="2"/>
            <a:r>
              <a:rPr lang="en-GB" dirty="0"/>
              <a:t> Third level</a:t>
            </a:r>
          </a:p>
          <a:p>
            <a:pPr lvl="3"/>
            <a:r>
              <a:rPr lang="en-GB" dirty="0"/>
              <a:t> Fourth level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585599" y="6143626"/>
            <a:ext cx="11040000" cy="581025"/>
          </a:xfrm>
        </p:spPr>
        <p:txBody>
          <a:bodyPr lIns="0" anchor="b">
            <a:noAutofit/>
          </a:bodyPr>
          <a:lstStyle>
            <a:lvl1pPr marL="0" indent="0">
              <a:buNone/>
              <a:defRPr sz="120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lick to edit notes style</a:t>
            </a:r>
            <a:endParaRPr lang="en-GB" dirty="0"/>
          </a:p>
        </p:txBody>
      </p:sp>
      <p:cxnSp>
        <p:nvCxnSpPr>
          <p:cNvPr id="6" name="Straight Connector 5"/>
          <p:cNvCxnSpPr/>
          <p:nvPr userDrawn="1"/>
        </p:nvCxnSpPr>
        <p:spPr>
          <a:xfrm>
            <a:off x="585599" y="1180087"/>
            <a:ext cx="11040000" cy="0"/>
          </a:xfrm>
          <a:prstGeom prst="line">
            <a:avLst/>
          </a:prstGeom>
          <a:ln w="31750">
            <a:gradFill flip="none" rotWithShape="1">
              <a:gsLst>
                <a:gs pos="0">
                  <a:schemeClr val="accent5"/>
                </a:gs>
                <a:gs pos="70000">
                  <a:schemeClr val="tx1"/>
                </a:gs>
                <a:gs pos="100000">
                  <a:schemeClr val="tx1">
                    <a:lumMod val="20000"/>
                    <a:lumOff val="80000"/>
                  </a:schemeClr>
                </a:gs>
              </a:gsLst>
              <a:lin ang="0" scaled="1"/>
              <a:tileRect/>
            </a:gradFill>
          </a:ln>
          <a:effectLst>
            <a:outerShdw dist="20000" sx="1000" sy="1000" rotWithShape="0">
              <a:srgbClr val="000000"/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585599" y="101601"/>
            <a:ext cx="11040000" cy="998309"/>
          </a:xfrm>
          <a:ln>
            <a:noFill/>
          </a:ln>
        </p:spPr>
        <p:txBody>
          <a:bodyPr lIns="0" tIns="0" rIns="0" bIns="0" anchor="b" anchorCtr="0">
            <a:normAutofit/>
          </a:bodyPr>
          <a:lstStyle>
            <a:lvl1pPr marL="0" indent="0">
              <a:defRPr sz="4000" b="1">
                <a:solidFill>
                  <a:schemeClr val="accent5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39988874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page_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11"/>
          <p:cNvSpPr/>
          <p:nvPr userDrawn="1"/>
        </p:nvSpPr>
        <p:spPr>
          <a:xfrm>
            <a:off x="0" y="2928494"/>
            <a:ext cx="12192000" cy="3929507"/>
          </a:xfrm>
          <a:prstGeom prst="rect">
            <a:avLst/>
          </a:prstGeom>
          <a:gradFill>
            <a:gsLst>
              <a:gs pos="0">
                <a:srgbClr val="6699CC">
                  <a:alpha val="40000"/>
                </a:srgbClr>
              </a:gs>
              <a:gs pos="100000">
                <a:srgbClr val="FFFFFF"/>
              </a:gs>
            </a:gsLst>
            <a:lin ang="162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sz="1400" noProof="0" dirty="0">
              <a:solidFill>
                <a:schemeClr val="tx1"/>
              </a:solidFill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231" t="19013" b="13976"/>
          <a:stretch/>
        </p:blipFill>
        <p:spPr bwMode="auto">
          <a:xfrm>
            <a:off x="0" y="0"/>
            <a:ext cx="8573053" cy="685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24" name="Gerade Verbindung 23"/>
          <p:cNvCxnSpPr/>
          <p:nvPr/>
        </p:nvCxnSpPr>
        <p:spPr>
          <a:xfrm>
            <a:off x="2" y="2492389"/>
            <a:ext cx="12191999" cy="0"/>
          </a:xfrm>
          <a:prstGeom prst="line">
            <a:avLst/>
          </a:prstGeom>
          <a:ln w="12700">
            <a:solidFill>
              <a:srgbClr val="0033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490101" y="2654884"/>
            <a:ext cx="7845825" cy="738664"/>
          </a:xfrm>
        </p:spPr>
        <p:txBody>
          <a:bodyPr wrap="square" lIns="0">
            <a:spAutoFit/>
          </a:bodyPr>
          <a:lstStyle>
            <a:lvl1pPr>
              <a:defRPr sz="4800">
                <a:solidFill>
                  <a:srgbClr val="003366"/>
                </a:solidFill>
              </a:defRPr>
            </a:lvl1pPr>
          </a:lstStyle>
          <a:p>
            <a:r>
              <a:rPr lang="en-GB" noProof="0" dirty="0" err="1"/>
              <a:t>Titel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490101" y="4763671"/>
            <a:ext cx="7845825" cy="369332"/>
          </a:xfrm>
        </p:spPr>
        <p:txBody>
          <a:bodyPr wrap="square">
            <a:spAutoFit/>
          </a:bodyPr>
          <a:lstStyle>
            <a:lvl1pPr marL="0" indent="0" algn="l">
              <a:buNone/>
              <a:defRPr sz="2400">
                <a:solidFill>
                  <a:srgbClr val="003366"/>
                </a:solidFill>
                <a:latin typeface="BISansCond" panose="02000006050000020004" pitchFamily="2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 dirty="0" err="1"/>
              <a:t>Untertitel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  <p:cxnSp>
        <p:nvCxnSpPr>
          <p:cNvPr id="10" name="Gerade Verbindung 9"/>
          <p:cNvCxnSpPr/>
          <p:nvPr userDrawn="1"/>
        </p:nvCxnSpPr>
        <p:spPr>
          <a:xfrm>
            <a:off x="2" y="2492389"/>
            <a:ext cx="12191999" cy="0"/>
          </a:xfrm>
          <a:prstGeom prst="line">
            <a:avLst/>
          </a:prstGeom>
          <a:ln w="12700">
            <a:solidFill>
              <a:srgbClr val="0033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Grafik 14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22937" y="6120399"/>
            <a:ext cx="1679601" cy="381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11491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age_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eck 12"/>
          <p:cNvSpPr/>
          <p:nvPr userDrawn="1"/>
        </p:nvSpPr>
        <p:spPr>
          <a:xfrm>
            <a:off x="0" y="2928494"/>
            <a:ext cx="12192000" cy="3929507"/>
          </a:xfrm>
          <a:prstGeom prst="rect">
            <a:avLst/>
          </a:prstGeom>
          <a:gradFill>
            <a:gsLst>
              <a:gs pos="0">
                <a:srgbClr val="6699CC">
                  <a:alpha val="40000"/>
                </a:srgbClr>
              </a:gs>
              <a:gs pos="100000">
                <a:srgbClr val="FFFFFF"/>
              </a:gs>
            </a:gsLst>
            <a:lin ang="162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sz="1400" noProof="0" dirty="0">
              <a:solidFill>
                <a:schemeClr val="tx1"/>
              </a:solidFill>
            </a:endParaRPr>
          </a:p>
        </p:txBody>
      </p:sp>
      <p:pic>
        <p:nvPicPr>
          <p:cNvPr id="14" name="Picture 2"/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231" t="19013" b="13976"/>
          <a:stretch/>
        </p:blipFill>
        <p:spPr bwMode="auto">
          <a:xfrm>
            <a:off x="0" y="0"/>
            <a:ext cx="8573053" cy="685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24" name="Gerade Verbindung 23"/>
          <p:cNvCxnSpPr/>
          <p:nvPr/>
        </p:nvCxnSpPr>
        <p:spPr>
          <a:xfrm>
            <a:off x="2" y="2492389"/>
            <a:ext cx="12191999" cy="0"/>
          </a:xfrm>
          <a:prstGeom prst="line">
            <a:avLst/>
          </a:prstGeom>
          <a:ln w="12700">
            <a:solidFill>
              <a:srgbClr val="0033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490100" y="2654884"/>
            <a:ext cx="7166475" cy="738664"/>
          </a:xfrm>
        </p:spPr>
        <p:txBody>
          <a:bodyPr wrap="square">
            <a:spAutoFit/>
          </a:bodyPr>
          <a:lstStyle>
            <a:lvl1pPr>
              <a:defRPr sz="4800">
                <a:solidFill>
                  <a:srgbClr val="003366"/>
                </a:solidFill>
              </a:defRPr>
            </a:lvl1pPr>
          </a:lstStyle>
          <a:p>
            <a:r>
              <a:rPr lang="en-GB" noProof="0" dirty="0" err="1"/>
              <a:t>Titel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490100" y="4763671"/>
            <a:ext cx="7166475" cy="369332"/>
          </a:xfrm>
        </p:spPr>
        <p:txBody>
          <a:bodyPr wrap="square">
            <a:spAutoFit/>
          </a:bodyPr>
          <a:lstStyle>
            <a:lvl1pPr marL="0" indent="0" algn="l">
              <a:buNone/>
              <a:defRPr sz="2400">
                <a:solidFill>
                  <a:srgbClr val="003366"/>
                </a:solidFill>
                <a:latin typeface="BISansCond" panose="02000006050000020004" pitchFamily="2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 dirty="0" err="1"/>
              <a:t>Untertitel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  <p:cxnSp>
        <p:nvCxnSpPr>
          <p:cNvPr id="11" name="Gerade Verbindung 10"/>
          <p:cNvCxnSpPr/>
          <p:nvPr userDrawn="1"/>
        </p:nvCxnSpPr>
        <p:spPr>
          <a:xfrm>
            <a:off x="2" y="2492389"/>
            <a:ext cx="12191999" cy="0"/>
          </a:xfrm>
          <a:prstGeom prst="line">
            <a:avLst/>
          </a:prstGeom>
          <a:ln w="12700">
            <a:solidFill>
              <a:srgbClr val="0033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724524" y="749516"/>
            <a:ext cx="3014400" cy="2260800"/>
          </a:xfrm>
          <a:prstGeom prst="ellipse">
            <a:avLst/>
          </a:prstGeom>
          <a:gradFill flip="none" rotWithShape="1">
            <a:gsLst>
              <a:gs pos="0">
                <a:srgbClr val="002142"/>
              </a:gs>
              <a:gs pos="100000">
                <a:srgbClr val="275187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>
            <a:normAutofit/>
          </a:bodyPr>
          <a:lstStyle>
            <a:lvl1pPr marL="0" indent="0" algn="ctr">
              <a:buNone/>
              <a:defRPr lang="de-DE" sz="3000" dirty="0">
                <a:solidFill>
                  <a:schemeClr val="bg1"/>
                </a:solidFill>
                <a:latin typeface="+mj-lt"/>
              </a:defRPr>
            </a:lvl1pPr>
          </a:lstStyle>
          <a:p>
            <a:pPr marL="0" lvl="0" algn="ctr"/>
            <a:r>
              <a:rPr lang="en-GB" noProof="0" dirty="0"/>
              <a:t>Add. info [font size variable]</a:t>
            </a:r>
          </a:p>
        </p:txBody>
      </p: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22937" y="6120399"/>
            <a:ext cx="1679601" cy="381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43259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Calibri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Calibri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Calibri" pitchFamily="34" charset="0"/>
              </a:defRPr>
            </a:lvl1pPr>
          </a:lstStyle>
          <a:p>
            <a:r>
              <a:rPr lang="en-US" dirty="0"/>
              <a:t> Business Review Template - Confidential</a:t>
            </a:r>
          </a:p>
        </p:txBody>
      </p:sp>
    </p:spTree>
    <p:extLst>
      <p:ext uri="{BB962C8B-B14F-4D97-AF65-F5344CB8AC3E}">
        <p14:creationId xmlns:p14="http://schemas.microsoft.com/office/powerpoint/2010/main" val="881051502"/>
      </p:ext>
    </p:extLst>
  </p:cSld>
  <p:clrMapOvr>
    <a:masterClrMapping/>
  </p:clrMapOvr>
  <p:transition spd="med"/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_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eck 12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rgbClr val="89C0FF"/>
              </a:gs>
              <a:gs pos="100000">
                <a:srgbClr val="5486C1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noProof="0" dirty="0"/>
          </a:p>
        </p:txBody>
      </p:sp>
      <p:cxnSp>
        <p:nvCxnSpPr>
          <p:cNvPr id="17" name="Gerade Verbindung 16"/>
          <p:cNvCxnSpPr/>
          <p:nvPr/>
        </p:nvCxnSpPr>
        <p:spPr>
          <a:xfrm>
            <a:off x="0" y="2492389"/>
            <a:ext cx="12192000" cy="0"/>
          </a:xfrm>
          <a:prstGeom prst="line">
            <a:avLst/>
          </a:prstGeom>
          <a:ln w="1270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Textplatzhalter 18"/>
          <p:cNvSpPr>
            <a:spLocks noGrp="1"/>
          </p:cNvSpPr>
          <p:nvPr>
            <p:ph type="body" sz="quarter" idx="11"/>
          </p:nvPr>
        </p:nvSpPr>
        <p:spPr>
          <a:xfrm>
            <a:off x="469106" y="2640129"/>
            <a:ext cx="5412316" cy="1477328"/>
          </a:xfrm>
        </p:spPr>
        <p:txBody>
          <a:bodyPr wrap="square">
            <a:spAutoFit/>
          </a:bodyPr>
          <a:lstStyle>
            <a:lvl1pPr marL="0" indent="0">
              <a:buNone/>
              <a:defRPr sz="4800">
                <a:solidFill>
                  <a:schemeClr val="bg1"/>
                </a:solidFill>
                <a:latin typeface="BISansCond" panose="02000006050000020004" pitchFamily="2" charset="0"/>
              </a:defRPr>
            </a:lvl1pPr>
          </a:lstStyle>
          <a:p>
            <a:pPr lvl="0"/>
            <a:r>
              <a:rPr lang="en-US" altLang="zh-TW" noProof="0"/>
              <a:t>Click to edit Master text styles</a:t>
            </a:r>
          </a:p>
        </p:txBody>
      </p:sp>
      <p:sp>
        <p:nvSpPr>
          <p:cNvPr id="20" name="Textplatzhalter 18"/>
          <p:cNvSpPr>
            <a:spLocks noGrp="1"/>
          </p:cNvSpPr>
          <p:nvPr>
            <p:ph type="body" sz="quarter" idx="12"/>
          </p:nvPr>
        </p:nvSpPr>
        <p:spPr>
          <a:xfrm>
            <a:off x="469105" y="3718148"/>
            <a:ext cx="5412315" cy="369332"/>
          </a:xfrm>
        </p:spPr>
        <p:txBody>
          <a:bodyPr wrap="square">
            <a:spAutoFit/>
          </a:bodyPr>
          <a:lstStyle>
            <a:lvl1pPr marL="0" indent="0">
              <a:buNone/>
              <a:defRPr sz="2400">
                <a:solidFill>
                  <a:schemeClr val="bg1"/>
                </a:solidFill>
                <a:latin typeface="BISansCond" panose="02000006050000020004" pitchFamily="2" charset="0"/>
              </a:defRPr>
            </a:lvl1pPr>
          </a:lstStyle>
          <a:p>
            <a:pPr lvl="0"/>
            <a:r>
              <a:rPr lang="en-US" altLang="zh-TW" noProof="0"/>
              <a:t>Click to edit Master text styles</a:t>
            </a:r>
          </a:p>
        </p:txBody>
      </p:sp>
      <p:cxnSp>
        <p:nvCxnSpPr>
          <p:cNvPr id="10" name="Gerade Verbindung 9"/>
          <p:cNvCxnSpPr/>
          <p:nvPr userDrawn="1"/>
        </p:nvCxnSpPr>
        <p:spPr>
          <a:xfrm>
            <a:off x="0" y="2492389"/>
            <a:ext cx="12192000" cy="0"/>
          </a:xfrm>
          <a:prstGeom prst="line">
            <a:avLst/>
          </a:prstGeom>
          <a:ln w="1270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26260" y="6120399"/>
            <a:ext cx="1679601" cy="381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02806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_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eck 12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rgbClr val="89C0FF"/>
              </a:gs>
              <a:gs pos="100000">
                <a:srgbClr val="5486C1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noProof="0" dirty="0"/>
          </a:p>
        </p:txBody>
      </p:sp>
      <p:cxnSp>
        <p:nvCxnSpPr>
          <p:cNvPr id="17" name="Gerade Verbindung 16"/>
          <p:cNvCxnSpPr/>
          <p:nvPr/>
        </p:nvCxnSpPr>
        <p:spPr>
          <a:xfrm>
            <a:off x="0" y="2492389"/>
            <a:ext cx="12192000" cy="0"/>
          </a:xfrm>
          <a:prstGeom prst="line">
            <a:avLst/>
          </a:prstGeom>
          <a:ln w="1270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Textplatzhalter 18"/>
          <p:cNvSpPr>
            <a:spLocks noGrp="1"/>
          </p:cNvSpPr>
          <p:nvPr>
            <p:ph type="body" sz="quarter" idx="11"/>
          </p:nvPr>
        </p:nvSpPr>
        <p:spPr>
          <a:xfrm>
            <a:off x="469106" y="2640129"/>
            <a:ext cx="5412316" cy="1477328"/>
          </a:xfrm>
        </p:spPr>
        <p:txBody>
          <a:bodyPr wrap="square">
            <a:spAutoFit/>
          </a:bodyPr>
          <a:lstStyle>
            <a:lvl1pPr marL="0" indent="0">
              <a:buNone/>
              <a:defRPr sz="4800">
                <a:solidFill>
                  <a:schemeClr val="bg1"/>
                </a:solidFill>
                <a:latin typeface="BISansCond" panose="02000006050000020004" pitchFamily="2" charset="0"/>
              </a:defRPr>
            </a:lvl1pPr>
          </a:lstStyle>
          <a:p>
            <a:pPr lvl="0"/>
            <a:r>
              <a:rPr lang="en-US" altLang="zh-TW" noProof="0"/>
              <a:t>Click to edit Master text styles</a:t>
            </a:r>
          </a:p>
        </p:txBody>
      </p:sp>
      <p:sp>
        <p:nvSpPr>
          <p:cNvPr id="20" name="Textplatzhalter 18"/>
          <p:cNvSpPr>
            <a:spLocks noGrp="1"/>
          </p:cNvSpPr>
          <p:nvPr>
            <p:ph type="body" sz="quarter" idx="12"/>
          </p:nvPr>
        </p:nvSpPr>
        <p:spPr>
          <a:xfrm>
            <a:off x="469105" y="3718148"/>
            <a:ext cx="5412315" cy="369332"/>
          </a:xfrm>
        </p:spPr>
        <p:txBody>
          <a:bodyPr wrap="square">
            <a:spAutoFit/>
          </a:bodyPr>
          <a:lstStyle>
            <a:lvl1pPr marL="0" indent="0">
              <a:buNone/>
              <a:defRPr sz="2400">
                <a:solidFill>
                  <a:schemeClr val="bg1"/>
                </a:solidFill>
                <a:latin typeface="BISansCond" panose="02000006050000020004" pitchFamily="2" charset="0"/>
              </a:defRPr>
            </a:lvl1pPr>
          </a:lstStyle>
          <a:p>
            <a:pPr lvl="0"/>
            <a:r>
              <a:rPr lang="en-US" altLang="zh-TW" noProof="0"/>
              <a:t>Click to edit Master text styles</a:t>
            </a:r>
          </a:p>
        </p:txBody>
      </p:sp>
      <p:cxnSp>
        <p:nvCxnSpPr>
          <p:cNvPr id="10" name="Gerade Verbindung 9"/>
          <p:cNvCxnSpPr/>
          <p:nvPr userDrawn="1"/>
        </p:nvCxnSpPr>
        <p:spPr>
          <a:xfrm>
            <a:off x="0" y="2492389"/>
            <a:ext cx="12192000" cy="0"/>
          </a:xfrm>
          <a:prstGeom prst="line">
            <a:avLst/>
          </a:prstGeom>
          <a:ln w="1270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5" name="Textplatzhalter 24"/>
          <p:cNvSpPr>
            <a:spLocks noGrp="1"/>
          </p:cNvSpPr>
          <p:nvPr>
            <p:ph type="body" sz="quarter" idx="13" hasCustomPrompt="1"/>
          </p:nvPr>
        </p:nvSpPr>
        <p:spPr>
          <a:xfrm>
            <a:off x="6088023" y="970175"/>
            <a:ext cx="3691200" cy="2768400"/>
          </a:xfrm>
          <a:prstGeom prst="ellipse">
            <a:avLst/>
          </a:prstGeom>
          <a:gradFill>
            <a:gsLst>
              <a:gs pos="0">
                <a:schemeClr val="bg1"/>
              </a:gs>
              <a:gs pos="100000">
                <a:schemeClr val="bg1">
                  <a:alpha val="59000"/>
                </a:schemeClr>
              </a:gs>
            </a:gsLst>
            <a:lin ang="9000000" scaled="0"/>
          </a:gradFill>
          <a:ln>
            <a:noFill/>
          </a:ln>
        </p:spPr>
        <p:txBody>
          <a:bodyPr anchor="ctr" anchorCtr="0"/>
          <a:lstStyle>
            <a:lvl1pPr marL="0" indent="0" algn="ctr">
              <a:spcBef>
                <a:spcPts val="0"/>
              </a:spcBef>
              <a:buNone/>
              <a:defRPr sz="2400">
                <a:solidFill>
                  <a:srgbClr val="003366"/>
                </a:solidFill>
                <a:latin typeface="BISansCond" panose="02000006050000020004" pitchFamily="2" charset="0"/>
              </a:defRPr>
            </a:lvl1pPr>
          </a:lstStyle>
          <a:p>
            <a:pPr lvl="0"/>
            <a:r>
              <a:rPr lang="en-GB" noProof="0" dirty="0" err="1"/>
              <a:t>Textmaster</a:t>
            </a:r>
            <a:r>
              <a:rPr lang="en-GB" noProof="0" dirty="0"/>
              <a:t>-format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26260" y="6120399"/>
            <a:ext cx="1679601" cy="381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81382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_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hteck 1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rgbClr val="89C0FF"/>
              </a:gs>
              <a:gs pos="100000">
                <a:srgbClr val="5486C1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noProof="0" dirty="0"/>
          </a:p>
        </p:txBody>
      </p:sp>
      <p:cxnSp>
        <p:nvCxnSpPr>
          <p:cNvPr id="17" name="Gerade Verbindung 16"/>
          <p:cNvCxnSpPr/>
          <p:nvPr/>
        </p:nvCxnSpPr>
        <p:spPr>
          <a:xfrm>
            <a:off x="0" y="2492389"/>
            <a:ext cx="12192000" cy="0"/>
          </a:xfrm>
          <a:prstGeom prst="line">
            <a:avLst/>
          </a:prstGeom>
          <a:ln w="1270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Textplatzhalter 18"/>
          <p:cNvSpPr>
            <a:spLocks noGrp="1"/>
          </p:cNvSpPr>
          <p:nvPr>
            <p:ph type="body" sz="quarter" idx="11"/>
          </p:nvPr>
        </p:nvSpPr>
        <p:spPr>
          <a:xfrm>
            <a:off x="469106" y="2640129"/>
            <a:ext cx="5412316" cy="1477328"/>
          </a:xfrm>
        </p:spPr>
        <p:txBody>
          <a:bodyPr wrap="square">
            <a:spAutoFit/>
          </a:bodyPr>
          <a:lstStyle>
            <a:lvl1pPr marL="0" indent="0">
              <a:buNone/>
              <a:defRPr sz="4800">
                <a:solidFill>
                  <a:schemeClr val="bg1"/>
                </a:solidFill>
                <a:latin typeface="BISansCond" panose="02000006050000020004" pitchFamily="2" charset="0"/>
              </a:defRPr>
            </a:lvl1pPr>
          </a:lstStyle>
          <a:p>
            <a:pPr lvl="0"/>
            <a:r>
              <a:rPr lang="en-US" altLang="zh-TW" noProof="0"/>
              <a:t>Click to edit Master text styles</a:t>
            </a:r>
          </a:p>
        </p:txBody>
      </p:sp>
      <p:sp>
        <p:nvSpPr>
          <p:cNvPr id="20" name="Textplatzhalter 18"/>
          <p:cNvSpPr>
            <a:spLocks noGrp="1"/>
          </p:cNvSpPr>
          <p:nvPr>
            <p:ph type="body" sz="quarter" idx="12"/>
          </p:nvPr>
        </p:nvSpPr>
        <p:spPr>
          <a:xfrm>
            <a:off x="469105" y="3718148"/>
            <a:ext cx="3939523" cy="369332"/>
          </a:xfrm>
        </p:spPr>
        <p:txBody>
          <a:bodyPr wrap="square">
            <a:spAutoFit/>
          </a:bodyPr>
          <a:lstStyle>
            <a:lvl1pPr marL="0" indent="0">
              <a:buNone/>
              <a:defRPr sz="2400">
                <a:solidFill>
                  <a:schemeClr val="bg1"/>
                </a:solidFill>
                <a:latin typeface="BISansCond" panose="02000006050000020004" pitchFamily="2" charset="0"/>
              </a:defRPr>
            </a:lvl1pPr>
          </a:lstStyle>
          <a:p>
            <a:pPr lvl="0"/>
            <a:r>
              <a:rPr lang="en-US" altLang="zh-TW" noProof="0"/>
              <a:t>Click to edit Master text styles</a:t>
            </a:r>
          </a:p>
        </p:txBody>
      </p:sp>
      <p:cxnSp>
        <p:nvCxnSpPr>
          <p:cNvPr id="13" name="Gerade Verbindung 12"/>
          <p:cNvCxnSpPr/>
          <p:nvPr userDrawn="1"/>
        </p:nvCxnSpPr>
        <p:spPr>
          <a:xfrm>
            <a:off x="0" y="2492389"/>
            <a:ext cx="12192000" cy="0"/>
          </a:xfrm>
          <a:prstGeom prst="line">
            <a:avLst/>
          </a:prstGeom>
          <a:ln w="1270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Textplatzhalter 24"/>
          <p:cNvSpPr>
            <a:spLocks noGrp="1"/>
          </p:cNvSpPr>
          <p:nvPr>
            <p:ph type="body" sz="quarter" idx="14" hasCustomPrompt="1"/>
          </p:nvPr>
        </p:nvSpPr>
        <p:spPr>
          <a:xfrm>
            <a:off x="6088023" y="970175"/>
            <a:ext cx="3691200" cy="2768400"/>
          </a:xfrm>
          <a:prstGeom prst="ellipse">
            <a:avLst/>
          </a:prstGeom>
          <a:gradFill>
            <a:gsLst>
              <a:gs pos="0">
                <a:schemeClr val="bg1"/>
              </a:gs>
              <a:gs pos="100000">
                <a:schemeClr val="bg1">
                  <a:alpha val="59000"/>
                </a:schemeClr>
              </a:gs>
            </a:gsLst>
            <a:lin ang="9000000" scaled="0"/>
          </a:gradFill>
          <a:ln>
            <a:noFill/>
          </a:ln>
        </p:spPr>
        <p:txBody>
          <a:bodyPr anchor="ctr" anchorCtr="0"/>
          <a:lstStyle>
            <a:lvl1pPr marL="0" indent="0" algn="ctr">
              <a:spcBef>
                <a:spcPts val="0"/>
              </a:spcBef>
              <a:buNone/>
              <a:defRPr sz="2400">
                <a:solidFill>
                  <a:srgbClr val="003366"/>
                </a:solidFill>
                <a:latin typeface="BISansCond" panose="02000006050000020004" pitchFamily="2" charset="0"/>
              </a:defRPr>
            </a:lvl1pPr>
          </a:lstStyle>
          <a:p>
            <a:pPr lvl="0"/>
            <a:r>
              <a:rPr lang="en-GB" noProof="0" dirty="0" err="1"/>
              <a:t>Textmaster</a:t>
            </a:r>
            <a:r>
              <a:rPr lang="en-GB" noProof="0" dirty="0"/>
              <a:t>-format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  <p:sp>
        <p:nvSpPr>
          <p:cNvPr id="23" name="Bildplatzhalter 22"/>
          <p:cNvSpPr>
            <a:spLocks noGrp="1"/>
          </p:cNvSpPr>
          <p:nvPr>
            <p:ph type="pic" sz="quarter" idx="13"/>
          </p:nvPr>
        </p:nvSpPr>
        <p:spPr>
          <a:xfrm>
            <a:off x="5799691" y="3500533"/>
            <a:ext cx="3014400" cy="2260800"/>
          </a:xfrm>
          <a:prstGeom prst="ellipse">
            <a:avLst/>
          </a:prstGeom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n-US" altLang="zh-TW" noProof="0"/>
              <a:t>Click icon to add picture</a:t>
            </a:r>
            <a:endParaRPr lang="en-GB" noProof="0" dirty="0"/>
          </a:p>
        </p:txBody>
      </p: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26260" y="6120399"/>
            <a:ext cx="1679601" cy="381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88329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page_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 userDrawn="1"/>
        </p:nvSpPr>
        <p:spPr>
          <a:xfrm>
            <a:off x="0" y="2928494"/>
            <a:ext cx="12192000" cy="3929507"/>
          </a:xfrm>
          <a:prstGeom prst="rect">
            <a:avLst/>
          </a:prstGeom>
          <a:gradFill>
            <a:gsLst>
              <a:gs pos="0">
                <a:srgbClr val="6699CC">
                  <a:alpha val="40000"/>
                </a:srgbClr>
              </a:gs>
              <a:gs pos="100000">
                <a:srgbClr val="FFFFFF"/>
              </a:gs>
            </a:gsLst>
            <a:lin ang="162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sz="1400" noProof="0" dirty="0">
              <a:solidFill>
                <a:schemeClr val="tx1"/>
              </a:solidFill>
            </a:endParaRPr>
          </a:p>
        </p:txBody>
      </p:sp>
      <p:cxnSp>
        <p:nvCxnSpPr>
          <p:cNvPr id="5" name="Gerade Verbindung 4"/>
          <p:cNvCxnSpPr/>
          <p:nvPr userDrawn="1"/>
        </p:nvCxnSpPr>
        <p:spPr>
          <a:xfrm>
            <a:off x="0" y="971453"/>
            <a:ext cx="12192000" cy="0"/>
          </a:xfrm>
          <a:prstGeom prst="line">
            <a:avLst/>
          </a:prstGeom>
          <a:ln w="12700">
            <a:solidFill>
              <a:srgbClr val="0033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5924" y="6578958"/>
            <a:ext cx="840360" cy="190510"/>
          </a:xfrm>
          <a:prstGeom prst="rect">
            <a:avLst/>
          </a:prstGeom>
        </p:spPr>
      </p:pic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/>
              <a:t>Click to edit Master title styl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8F670B-D7B9-419C-9EDC-EEA2E815864B}" type="datetime1">
              <a:rPr lang="en-GB" smtClean="0"/>
              <a:t>14/12/2021</a:t>
            </a:fld>
            <a:endParaRPr lang="en-GB" dirty="0"/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3B55C4-4F5A-416B-997D-6CE47EB0A945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883022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page_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11"/>
          <p:cNvSpPr/>
          <p:nvPr userDrawn="1"/>
        </p:nvSpPr>
        <p:spPr>
          <a:xfrm>
            <a:off x="0" y="2928494"/>
            <a:ext cx="12192000" cy="3929507"/>
          </a:xfrm>
          <a:prstGeom prst="rect">
            <a:avLst/>
          </a:prstGeom>
          <a:gradFill>
            <a:gsLst>
              <a:gs pos="0">
                <a:srgbClr val="6699CC">
                  <a:alpha val="40000"/>
                </a:srgbClr>
              </a:gs>
              <a:gs pos="100000">
                <a:srgbClr val="FFFFFF"/>
              </a:gs>
            </a:gsLst>
            <a:lin ang="162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sz="1400" noProof="0" dirty="0">
              <a:solidFill>
                <a:schemeClr val="tx1"/>
              </a:solidFill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altLang="zh-TW" noProof="0"/>
              <a:t>Click to edit Master text styles</a:t>
            </a:r>
          </a:p>
          <a:p>
            <a:pPr lvl="1"/>
            <a:r>
              <a:rPr lang="en-US" altLang="zh-TW" noProof="0"/>
              <a:t>Second level</a:t>
            </a:r>
          </a:p>
          <a:p>
            <a:pPr lvl="2"/>
            <a:r>
              <a:rPr lang="en-US" altLang="zh-TW" noProof="0"/>
              <a:t>Third level</a:t>
            </a:r>
          </a:p>
          <a:p>
            <a:pPr lvl="3"/>
            <a:r>
              <a:rPr lang="en-US" altLang="zh-TW" noProof="0"/>
              <a:t>Fourth level</a:t>
            </a:r>
          </a:p>
          <a:p>
            <a:pPr lvl="4"/>
            <a:r>
              <a:rPr lang="en-US" altLang="zh-TW" noProof="0"/>
              <a:t>Fifth level</a:t>
            </a:r>
            <a:endParaRPr lang="en-GB" noProof="0" dirty="0"/>
          </a:p>
        </p:txBody>
      </p:sp>
      <p:cxnSp>
        <p:nvCxnSpPr>
          <p:cNvPr id="5" name="Gerade Verbindung 4"/>
          <p:cNvCxnSpPr/>
          <p:nvPr/>
        </p:nvCxnSpPr>
        <p:spPr>
          <a:xfrm>
            <a:off x="0" y="971453"/>
            <a:ext cx="12192000" cy="0"/>
          </a:xfrm>
          <a:prstGeom prst="line">
            <a:avLst/>
          </a:prstGeom>
          <a:ln w="12700">
            <a:solidFill>
              <a:srgbClr val="0033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10"/>
          <p:cNvCxnSpPr/>
          <p:nvPr userDrawn="1"/>
        </p:nvCxnSpPr>
        <p:spPr>
          <a:xfrm>
            <a:off x="0" y="971453"/>
            <a:ext cx="12192000" cy="0"/>
          </a:xfrm>
          <a:prstGeom prst="line">
            <a:avLst/>
          </a:prstGeom>
          <a:ln w="12700">
            <a:solidFill>
              <a:srgbClr val="0033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5924" y="6578958"/>
            <a:ext cx="840360" cy="190510"/>
          </a:xfrm>
          <a:prstGeom prst="rect">
            <a:avLst/>
          </a:prstGeom>
        </p:spPr>
      </p:pic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0DDFAE-3DA3-4218-ADED-A2CB89D0520B}" type="datetime1">
              <a:rPr lang="en-GB" smtClean="0"/>
              <a:t>14/12/2021</a:t>
            </a:fld>
            <a:endParaRPr lang="en-GB" dirty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3B55C4-4F5A-416B-997D-6CE47EB0A94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4" name="Titel 13"/>
          <p:cNvSpPr>
            <a:spLocks noGrp="1"/>
          </p:cNvSpPr>
          <p:nvPr>
            <p:ph type="title"/>
          </p:nvPr>
        </p:nvSpPr>
        <p:spPr>
          <a:xfrm>
            <a:off x="490100" y="153349"/>
            <a:ext cx="11211800" cy="553998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 altLang="zh-TW"/>
              <a:t>Click to edit Master title sty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564041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page_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11"/>
          <p:cNvSpPr/>
          <p:nvPr userDrawn="1"/>
        </p:nvSpPr>
        <p:spPr>
          <a:xfrm>
            <a:off x="0" y="2928494"/>
            <a:ext cx="12192000" cy="3929507"/>
          </a:xfrm>
          <a:prstGeom prst="rect">
            <a:avLst/>
          </a:prstGeom>
          <a:gradFill>
            <a:gsLst>
              <a:gs pos="0">
                <a:srgbClr val="6699CC">
                  <a:alpha val="40000"/>
                </a:srgbClr>
              </a:gs>
              <a:gs pos="100000">
                <a:srgbClr val="FFFFFF"/>
              </a:gs>
            </a:gsLst>
            <a:lin ang="162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sz="1400" noProof="0" dirty="0">
              <a:solidFill>
                <a:schemeClr val="tx1"/>
              </a:solidFill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altLang="zh-TW" noProof="0"/>
              <a:t>Click to edit Master text styles</a:t>
            </a:r>
          </a:p>
          <a:p>
            <a:pPr lvl="1"/>
            <a:r>
              <a:rPr lang="en-US" altLang="zh-TW" noProof="0"/>
              <a:t>Second level</a:t>
            </a:r>
          </a:p>
          <a:p>
            <a:pPr lvl="2"/>
            <a:r>
              <a:rPr lang="en-US" altLang="zh-TW" noProof="0"/>
              <a:t>Third level</a:t>
            </a:r>
          </a:p>
          <a:p>
            <a:pPr lvl="3"/>
            <a:r>
              <a:rPr lang="en-US" altLang="zh-TW" noProof="0"/>
              <a:t>Fourth level</a:t>
            </a:r>
          </a:p>
          <a:p>
            <a:pPr lvl="4"/>
            <a:r>
              <a:rPr lang="en-US" altLang="zh-TW" noProof="0"/>
              <a:t>Fifth level</a:t>
            </a:r>
            <a:endParaRPr lang="en-GB" noProof="0" dirty="0"/>
          </a:p>
        </p:txBody>
      </p:sp>
      <p:cxnSp>
        <p:nvCxnSpPr>
          <p:cNvPr id="5" name="Gerade Verbindung 4"/>
          <p:cNvCxnSpPr/>
          <p:nvPr/>
        </p:nvCxnSpPr>
        <p:spPr>
          <a:xfrm>
            <a:off x="0" y="971453"/>
            <a:ext cx="12192000" cy="0"/>
          </a:xfrm>
          <a:prstGeom prst="line">
            <a:avLst/>
          </a:prstGeom>
          <a:ln w="12700">
            <a:solidFill>
              <a:srgbClr val="0033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10"/>
          <p:cNvCxnSpPr/>
          <p:nvPr userDrawn="1"/>
        </p:nvCxnSpPr>
        <p:spPr>
          <a:xfrm>
            <a:off x="0" y="971453"/>
            <a:ext cx="12192000" cy="0"/>
          </a:xfrm>
          <a:prstGeom prst="line">
            <a:avLst/>
          </a:prstGeom>
          <a:ln w="12700">
            <a:solidFill>
              <a:srgbClr val="0033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5924" y="6578958"/>
            <a:ext cx="840360" cy="190510"/>
          </a:xfrm>
          <a:prstGeom prst="rect">
            <a:avLst/>
          </a:prstGeom>
        </p:spPr>
      </p:pic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/>
              <a:t>Click to edit Master title style</a:t>
            </a:r>
            <a:endParaRPr lang="de-DE"/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0DDFAE-3DA3-4218-ADED-A2CB89D0520B}" type="datetime1">
              <a:rPr lang="en-GB" smtClean="0"/>
              <a:t>14/12/2021</a:t>
            </a:fld>
            <a:endParaRPr lang="en-GB" dirty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3B55C4-4F5A-416B-997D-6CE47EB0A945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067577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page_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11"/>
          <p:cNvSpPr/>
          <p:nvPr userDrawn="1"/>
        </p:nvSpPr>
        <p:spPr>
          <a:xfrm>
            <a:off x="0" y="2928494"/>
            <a:ext cx="12192000" cy="3929507"/>
          </a:xfrm>
          <a:prstGeom prst="rect">
            <a:avLst/>
          </a:prstGeom>
          <a:gradFill>
            <a:gsLst>
              <a:gs pos="0">
                <a:srgbClr val="6699CC">
                  <a:alpha val="40000"/>
                </a:srgbClr>
              </a:gs>
              <a:gs pos="100000">
                <a:srgbClr val="FFFFFF"/>
              </a:gs>
            </a:gsLst>
            <a:lin ang="162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sz="1400" noProof="0" dirty="0">
              <a:solidFill>
                <a:schemeClr val="tx1"/>
              </a:solidFill>
            </a:endParaRPr>
          </a:p>
        </p:txBody>
      </p:sp>
      <p:cxnSp>
        <p:nvCxnSpPr>
          <p:cNvPr id="5" name="Gerade Verbindung 4"/>
          <p:cNvCxnSpPr/>
          <p:nvPr/>
        </p:nvCxnSpPr>
        <p:spPr>
          <a:xfrm>
            <a:off x="0" y="971453"/>
            <a:ext cx="12192000" cy="0"/>
          </a:xfrm>
          <a:prstGeom prst="line">
            <a:avLst/>
          </a:prstGeom>
          <a:ln w="12700">
            <a:solidFill>
              <a:srgbClr val="0033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10"/>
          <p:cNvCxnSpPr/>
          <p:nvPr userDrawn="1"/>
        </p:nvCxnSpPr>
        <p:spPr>
          <a:xfrm>
            <a:off x="0" y="971453"/>
            <a:ext cx="12192000" cy="0"/>
          </a:xfrm>
          <a:prstGeom prst="line">
            <a:avLst/>
          </a:prstGeom>
          <a:ln w="12700">
            <a:solidFill>
              <a:srgbClr val="0033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Inhaltsplatzhalter 2"/>
          <p:cNvSpPr>
            <a:spLocks noGrp="1"/>
          </p:cNvSpPr>
          <p:nvPr>
            <p:ph idx="1"/>
          </p:nvPr>
        </p:nvSpPr>
        <p:spPr>
          <a:xfrm>
            <a:off x="2362098" y="1600202"/>
            <a:ext cx="7488001" cy="4525963"/>
          </a:xfrm>
        </p:spPr>
        <p:txBody>
          <a:bodyPr/>
          <a:lstStyle>
            <a:lvl1pPr marL="0" indent="0">
              <a:spcBef>
                <a:spcPts val="600"/>
              </a:spcBef>
              <a:buNone/>
              <a:defRPr/>
            </a:lvl1pPr>
            <a:lvl2pPr marL="182563" indent="-182563">
              <a:spcBef>
                <a:spcPts val="600"/>
              </a:spcBef>
              <a:buFont typeface="BISans" panose="02000503040000020004" pitchFamily="2" charset="0"/>
              <a:buChar char="•"/>
              <a:defRPr/>
            </a:lvl2pPr>
            <a:lvl3pPr marL="358775" indent="-176213">
              <a:buFont typeface="Arial" panose="020B0604020202020204" pitchFamily="34" charset="0"/>
              <a:buChar char="–"/>
              <a:defRPr/>
            </a:lvl3pPr>
          </a:lstStyle>
          <a:p>
            <a:pPr lvl="0"/>
            <a:r>
              <a:rPr lang="en-US" altLang="zh-TW" noProof="0"/>
              <a:t>Click to edit Master text styles</a:t>
            </a:r>
          </a:p>
          <a:p>
            <a:pPr lvl="1"/>
            <a:r>
              <a:rPr lang="en-US" altLang="zh-TW" noProof="0"/>
              <a:t>Second level</a:t>
            </a:r>
          </a:p>
          <a:p>
            <a:pPr lvl="2"/>
            <a:r>
              <a:rPr lang="en-US" altLang="zh-TW" noProof="0"/>
              <a:t>Third level</a:t>
            </a:r>
          </a:p>
        </p:txBody>
      </p: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5924" y="6578958"/>
            <a:ext cx="840360" cy="190510"/>
          </a:xfrm>
          <a:prstGeom prst="rect">
            <a:avLst/>
          </a:prstGeom>
        </p:spPr>
      </p:pic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96B648-F09C-46E0-BD0F-02867C1BCA59}" type="datetime1">
              <a:rPr lang="en-GB" smtClean="0"/>
              <a:t>14/12/2021</a:t>
            </a:fld>
            <a:endParaRPr lang="en-GB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3B55C4-4F5A-416B-997D-6CE47EB0A94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/>
              <a:t>Click to edit Master title styl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920743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gram slide_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hteck 13"/>
          <p:cNvSpPr/>
          <p:nvPr userDrawn="1"/>
        </p:nvSpPr>
        <p:spPr>
          <a:xfrm>
            <a:off x="0" y="2928494"/>
            <a:ext cx="12192000" cy="3929507"/>
          </a:xfrm>
          <a:prstGeom prst="rect">
            <a:avLst/>
          </a:prstGeom>
          <a:gradFill>
            <a:gsLst>
              <a:gs pos="0">
                <a:srgbClr val="6699CC">
                  <a:alpha val="40000"/>
                </a:srgbClr>
              </a:gs>
              <a:gs pos="100000">
                <a:srgbClr val="FFFFFF"/>
              </a:gs>
            </a:gsLst>
            <a:lin ang="162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sz="1400" noProof="0" dirty="0">
              <a:solidFill>
                <a:schemeClr val="tx1"/>
              </a:solidFill>
            </a:endParaRPr>
          </a:p>
        </p:txBody>
      </p:sp>
      <p:sp>
        <p:nvSpPr>
          <p:cNvPr id="15" name="Rechteck 14"/>
          <p:cNvSpPr/>
          <p:nvPr userDrawn="1"/>
        </p:nvSpPr>
        <p:spPr>
          <a:xfrm>
            <a:off x="0" y="1380788"/>
            <a:ext cx="12192000" cy="3929507"/>
          </a:xfrm>
          <a:prstGeom prst="rect">
            <a:avLst/>
          </a:prstGeom>
          <a:gradFill>
            <a:gsLst>
              <a:gs pos="0">
                <a:srgbClr val="6699CC">
                  <a:alpha val="40000"/>
                </a:srgbClr>
              </a:gs>
              <a:gs pos="100000">
                <a:srgbClr val="FFFFFF"/>
              </a:gs>
            </a:gsLst>
            <a:lin ang="162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sz="1400" noProof="0" dirty="0">
              <a:solidFill>
                <a:schemeClr val="tx1"/>
              </a:solidFill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90101" y="1600202"/>
            <a:ext cx="3912567" cy="3710092"/>
          </a:xfrm>
        </p:spPr>
        <p:txBody>
          <a:bodyPr/>
          <a:lstStyle/>
          <a:p>
            <a:pPr lvl="0"/>
            <a:r>
              <a:rPr lang="en-US" altLang="zh-TW" noProof="0"/>
              <a:t>Click to edit Master text styles</a:t>
            </a:r>
          </a:p>
          <a:p>
            <a:pPr lvl="1"/>
            <a:r>
              <a:rPr lang="en-US" altLang="zh-TW" noProof="0"/>
              <a:t>Second level</a:t>
            </a:r>
          </a:p>
          <a:p>
            <a:pPr lvl="2"/>
            <a:r>
              <a:rPr lang="en-US" altLang="zh-TW" noProof="0"/>
              <a:t>Third level</a:t>
            </a:r>
          </a:p>
          <a:p>
            <a:pPr lvl="3"/>
            <a:r>
              <a:rPr lang="en-US" altLang="zh-TW" noProof="0"/>
              <a:t>Fourth level</a:t>
            </a:r>
          </a:p>
          <a:p>
            <a:pPr lvl="4"/>
            <a:r>
              <a:rPr lang="en-US" altLang="zh-TW" noProof="0"/>
              <a:t>Fifth level</a:t>
            </a:r>
            <a:endParaRPr lang="en-GB" noProof="0" dirty="0"/>
          </a:p>
        </p:txBody>
      </p:sp>
      <p:cxnSp>
        <p:nvCxnSpPr>
          <p:cNvPr id="5" name="Gerade Verbindung 4"/>
          <p:cNvCxnSpPr/>
          <p:nvPr/>
        </p:nvCxnSpPr>
        <p:spPr>
          <a:xfrm>
            <a:off x="0" y="971453"/>
            <a:ext cx="12192000" cy="0"/>
          </a:xfrm>
          <a:prstGeom prst="line">
            <a:avLst/>
          </a:prstGeom>
          <a:ln w="12700">
            <a:solidFill>
              <a:srgbClr val="0033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12"/>
          <p:cNvCxnSpPr/>
          <p:nvPr userDrawn="1"/>
        </p:nvCxnSpPr>
        <p:spPr>
          <a:xfrm>
            <a:off x="0" y="971453"/>
            <a:ext cx="12192000" cy="0"/>
          </a:xfrm>
          <a:prstGeom prst="line">
            <a:avLst/>
          </a:prstGeom>
          <a:ln w="12700">
            <a:solidFill>
              <a:srgbClr val="0033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5924" y="6578958"/>
            <a:ext cx="840360" cy="190510"/>
          </a:xfrm>
          <a:prstGeom prst="rect">
            <a:avLst/>
          </a:prstGeom>
        </p:spPr>
      </p:pic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5750B4-0A56-4E6B-AADC-5777FA1C2983}" type="datetime1">
              <a:rPr lang="en-GB" smtClean="0"/>
              <a:t>14/12/2021</a:t>
            </a:fld>
            <a:endParaRPr lang="en-GB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3B55C4-4F5A-416B-997D-6CE47EB0A94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/>
              <a:t>Click to edit Master title styl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372321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lide_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11"/>
          <p:cNvSpPr/>
          <p:nvPr userDrawn="1"/>
        </p:nvSpPr>
        <p:spPr>
          <a:xfrm>
            <a:off x="0" y="2928494"/>
            <a:ext cx="12192000" cy="3929507"/>
          </a:xfrm>
          <a:prstGeom prst="rect">
            <a:avLst/>
          </a:prstGeom>
          <a:gradFill>
            <a:gsLst>
              <a:gs pos="0">
                <a:srgbClr val="6699CC">
                  <a:alpha val="40000"/>
                </a:srgbClr>
              </a:gs>
              <a:gs pos="100000">
                <a:srgbClr val="FFFFFF"/>
              </a:gs>
            </a:gsLst>
            <a:lin ang="162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sz="1400" noProof="0" dirty="0">
              <a:solidFill>
                <a:schemeClr val="tx1"/>
              </a:solidFill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2362102" y="1935251"/>
            <a:ext cx="6754212" cy="1231106"/>
          </a:xfrm>
        </p:spPr>
        <p:txBody>
          <a:bodyPr>
            <a:sp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altLang="zh-TW" noProof="0"/>
              <a:t>Click to edit Master text styles</a:t>
            </a:r>
          </a:p>
          <a:p>
            <a:pPr lvl="1"/>
            <a:r>
              <a:rPr lang="en-US" altLang="zh-TW" noProof="0"/>
              <a:t>Second level</a:t>
            </a:r>
          </a:p>
          <a:p>
            <a:pPr lvl="2"/>
            <a:r>
              <a:rPr lang="en-US" altLang="zh-TW" noProof="0"/>
              <a:t>Third level</a:t>
            </a:r>
          </a:p>
          <a:p>
            <a:pPr lvl="3"/>
            <a:r>
              <a:rPr lang="en-US" altLang="zh-TW" noProof="0"/>
              <a:t>Fourth level</a:t>
            </a:r>
          </a:p>
          <a:p>
            <a:pPr lvl="4"/>
            <a:r>
              <a:rPr lang="en-US" altLang="zh-TW" noProof="0"/>
              <a:t>Fifth level</a:t>
            </a:r>
            <a:endParaRPr lang="en-GB" noProof="0" dirty="0"/>
          </a:p>
        </p:txBody>
      </p:sp>
      <p:sp>
        <p:nvSpPr>
          <p:cNvPr id="15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-226475" y="1038415"/>
            <a:ext cx="2318400" cy="1738800"/>
          </a:xfrm>
          <a:prstGeom prst="ellipse">
            <a:avLst/>
          </a:prstGeom>
          <a:solidFill>
            <a:srgbClr val="6699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>
            <a:lvl1pPr marL="0" indent="0" algn="ctr">
              <a:buNone/>
              <a:defRPr lang="en-US" sz="2000" dirty="0" smtClean="0">
                <a:solidFill>
                  <a:schemeClr val="bg1"/>
                </a:solidFill>
                <a:latin typeface="+mj-lt"/>
              </a:defRPr>
            </a:lvl1pPr>
          </a:lstStyle>
          <a:p>
            <a:pPr marL="0" lvl="0" algn="ctr"/>
            <a:r>
              <a:rPr lang="en-GB" noProof="0" dirty="0"/>
              <a:t>Add. info [font size variable]</a:t>
            </a:r>
          </a:p>
        </p:txBody>
      </p:sp>
      <p:cxnSp>
        <p:nvCxnSpPr>
          <p:cNvPr id="6" name="Gerade Verbindung 5"/>
          <p:cNvCxnSpPr/>
          <p:nvPr/>
        </p:nvCxnSpPr>
        <p:spPr>
          <a:xfrm>
            <a:off x="0" y="1691647"/>
            <a:ext cx="12192000" cy="0"/>
          </a:xfrm>
          <a:prstGeom prst="line">
            <a:avLst/>
          </a:prstGeom>
          <a:ln w="12700">
            <a:solidFill>
              <a:srgbClr val="FF99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10"/>
          <p:cNvCxnSpPr/>
          <p:nvPr userDrawn="1"/>
        </p:nvCxnSpPr>
        <p:spPr>
          <a:xfrm>
            <a:off x="0" y="1691647"/>
            <a:ext cx="12192000" cy="0"/>
          </a:xfrm>
          <a:prstGeom prst="line">
            <a:avLst/>
          </a:prstGeom>
          <a:ln w="12700">
            <a:solidFill>
              <a:srgbClr val="FF99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5924" y="6578958"/>
            <a:ext cx="840360" cy="190510"/>
          </a:xfrm>
          <a:prstGeom prst="rect">
            <a:avLst/>
          </a:prstGeom>
        </p:spPr>
      </p:pic>
      <p:sp>
        <p:nvSpPr>
          <p:cNvPr id="4" name="Datumsplatzhalter 3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296EA654-ECD7-471A-8536-99948A30C4BB}" type="datetime1">
              <a:rPr lang="en-GB" smtClean="0"/>
              <a:t>14/12/2021</a:t>
            </a:fld>
            <a:endParaRPr lang="en-GB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143B55C4-4F5A-416B-997D-6CE47EB0A94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2362102" y="756761"/>
            <a:ext cx="6754213" cy="369332"/>
          </a:xfrm>
        </p:spPr>
        <p:txBody>
          <a:bodyPr/>
          <a:lstStyle/>
          <a:p>
            <a:r>
              <a:rPr lang="en-US" altLang="zh-TW"/>
              <a:t>Click to edit Master title sty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598747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rganisational chart_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/>
          <p:cNvSpPr/>
          <p:nvPr userDrawn="1"/>
        </p:nvSpPr>
        <p:spPr>
          <a:xfrm>
            <a:off x="0" y="2928494"/>
            <a:ext cx="12192000" cy="3929507"/>
          </a:xfrm>
          <a:prstGeom prst="rect">
            <a:avLst/>
          </a:prstGeom>
          <a:gradFill>
            <a:gsLst>
              <a:gs pos="0">
                <a:srgbClr val="6699CC">
                  <a:alpha val="40000"/>
                </a:srgbClr>
              </a:gs>
              <a:gs pos="100000">
                <a:srgbClr val="FFFFFF"/>
              </a:gs>
            </a:gsLst>
            <a:lin ang="162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sz="1400" noProof="0" dirty="0">
              <a:solidFill>
                <a:schemeClr val="tx1"/>
              </a:solidFill>
            </a:endParaRPr>
          </a:p>
        </p:txBody>
      </p:sp>
      <p:cxnSp>
        <p:nvCxnSpPr>
          <p:cNvPr id="5" name="Gerade Verbindung 4"/>
          <p:cNvCxnSpPr/>
          <p:nvPr/>
        </p:nvCxnSpPr>
        <p:spPr>
          <a:xfrm>
            <a:off x="0" y="2492389"/>
            <a:ext cx="12192000" cy="0"/>
          </a:xfrm>
          <a:prstGeom prst="line">
            <a:avLst/>
          </a:prstGeom>
          <a:ln w="12700">
            <a:solidFill>
              <a:srgbClr val="6699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Gerade Verbindung 9"/>
          <p:cNvCxnSpPr/>
          <p:nvPr userDrawn="1"/>
        </p:nvCxnSpPr>
        <p:spPr>
          <a:xfrm>
            <a:off x="0" y="2492389"/>
            <a:ext cx="12192000" cy="0"/>
          </a:xfrm>
          <a:prstGeom prst="line">
            <a:avLst/>
          </a:prstGeom>
          <a:ln w="12700">
            <a:solidFill>
              <a:srgbClr val="6699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5924" y="6578958"/>
            <a:ext cx="840360" cy="190510"/>
          </a:xfrm>
          <a:prstGeom prst="rect">
            <a:avLst/>
          </a:prstGeom>
        </p:spPr>
      </p:pic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D98D82-2CA0-4C64-8F52-ED1E564820AE}" type="datetime1">
              <a:rPr lang="en-GB" smtClean="0"/>
              <a:t>14/12/2021</a:t>
            </a:fld>
            <a:endParaRPr lang="en-GB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3B55C4-4F5A-416B-997D-6CE47EB0A94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/>
              <a:t>Click to edit Master title styl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513406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Calibri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Calibri" pitchFamily="34" charset="0"/>
              </a:defRPr>
            </a:lvl1pPr>
          </a:lstStyle>
          <a:p>
            <a:r>
              <a:rPr lang="en-US" dirty="0"/>
              <a:t> Business Review Template - Confidential</a:t>
            </a:r>
          </a:p>
        </p:txBody>
      </p:sp>
    </p:spTree>
    <p:extLst>
      <p:ext uri="{BB962C8B-B14F-4D97-AF65-F5344CB8AC3E}">
        <p14:creationId xmlns:p14="http://schemas.microsoft.com/office/powerpoint/2010/main" val="2019428913"/>
      </p:ext>
    </p:extLst>
  </p:cSld>
  <p:clrMapOvr>
    <a:masterClrMapping/>
  </p:clrMapOvr>
  <p:transition spd="med"/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-al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 userDrawn="1"/>
        </p:nvSpPr>
        <p:spPr>
          <a:xfrm>
            <a:off x="0" y="2928494"/>
            <a:ext cx="12192000" cy="3929507"/>
          </a:xfrm>
          <a:prstGeom prst="rect">
            <a:avLst/>
          </a:prstGeom>
          <a:gradFill>
            <a:gsLst>
              <a:gs pos="0">
                <a:srgbClr val="6699CC">
                  <a:alpha val="40000"/>
                </a:srgbClr>
              </a:gs>
              <a:gs pos="100000">
                <a:srgbClr val="FFFFFF"/>
              </a:gs>
            </a:gsLst>
            <a:lin ang="162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sz="1400" noProof="0" dirty="0">
              <a:solidFill>
                <a:schemeClr val="tx1"/>
              </a:solidFill>
            </a:endParaRP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C471A6-68F5-46F4-AB55-274B9534F60C}" type="datetime1">
              <a:rPr lang="en-GB" noProof="0" smtClean="0"/>
              <a:t>14/12/2021</a:t>
            </a:fld>
            <a:endParaRPr lang="en-GB" noProof="0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3B55C4-4F5A-416B-997D-6CE47EB0A945}" type="slidenum">
              <a:rPr lang="en-GB" noProof="0" smtClean="0"/>
              <a:t>‹#›</a:t>
            </a:fld>
            <a:endParaRPr lang="en-GB" noProof="0" dirty="0"/>
          </a:p>
        </p:txBody>
      </p:sp>
      <p:cxnSp>
        <p:nvCxnSpPr>
          <p:cNvPr id="7" name="Gerade Verbindung 6"/>
          <p:cNvCxnSpPr/>
          <p:nvPr userDrawn="1"/>
        </p:nvCxnSpPr>
        <p:spPr>
          <a:xfrm>
            <a:off x="0" y="971453"/>
            <a:ext cx="12192000" cy="0"/>
          </a:xfrm>
          <a:prstGeom prst="line">
            <a:avLst/>
          </a:prstGeom>
          <a:ln w="12700">
            <a:solidFill>
              <a:srgbClr val="0033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615966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36pt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90100" y="104583"/>
            <a:ext cx="11211800" cy="553998"/>
          </a:xfrm>
        </p:spPr>
        <p:txBody>
          <a:bodyPr/>
          <a:lstStyle>
            <a:lvl1pPr>
              <a:defRPr sz="3600">
                <a:solidFill>
                  <a:srgbClr val="003366"/>
                </a:solidFill>
              </a:defRPr>
            </a:lvl1pPr>
          </a:lstStyle>
          <a:p>
            <a:r>
              <a:rPr lang="en-US" altLang="zh-TW" noProof="0"/>
              <a:t>Click to edit Master title style</a:t>
            </a:r>
            <a:endParaRPr lang="en-GB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altLang="zh-TW" noProof="0"/>
              <a:t>Click to edit Master text styles</a:t>
            </a:r>
          </a:p>
          <a:p>
            <a:pPr lvl="1"/>
            <a:r>
              <a:rPr lang="en-US" altLang="zh-TW" noProof="0"/>
              <a:t>Second level</a:t>
            </a:r>
          </a:p>
          <a:p>
            <a:pPr lvl="2"/>
            <a:r>
              <a:rPr lang="en-US" altLang="zh-TW" noProof="0"/>
              <a:t>Third level</a:t>
            </a:r>
          </a:p>
          <a:p>
            <a:pPr lvl="3"/>
            <a:r>
              <a:rPr lang="en-US" altLang="zh-TW" noProof="0"/>
              <a:t>Fourth level</a:t>
            </a:r>
          </a:p>
          <a:p>
            <a:pPr lvl="4"/>
            <a:r>
              <a:rPr lang="en-US" altLang="zh-TW" noProof="0"/>
              <a:t>Fifth level</a:t>
            </a:r>
            <a:endParaRPr lang="en-GB" noProof="0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F327B5-4F46-4E52-AD59-88A207270947}" type="datetime1">
              <a:rPr lang="en-GB" noProof="0" smtClean="0"/>
              <a:t>14/12/2021</a:t>
            </a:fld>
            <a:endParaRPr lang="en-GB" noProof="0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3B55C4-4F5A-416B-997D-6CE47EB0A945}" type="slidenum">
              <a:rPr lang="en-GB" noProof="0" smtClean="0"/>
              <a:t>‹#›</a:t>
            </a:fld>
            <a:endParaRPr lang="en-GB" noProof="0" dirty="0"/>
          </a:p>
        </p:txBody>
      </p:sp>
      <p:cxnSp>
        <p:nvCxnSpPr>
          <p:cNvPr id="7" name="Gerade Verbindung 6"/>
          <p:cNvCxnSpPr/>
          <p:nvPr userDrawn="1"/>
        </p:nvCxnSpPr>
        <p:spPr>
          <a:xfrm>
            <a:off x="0" y="971453"/>
            <a:ext cx="12192000" cy="0"/>
          </a:xfrm>
          <a:prstGeom prst="line">
            <a:avLst/>
          </a:prstGeom>
          <a:ln w="12700">
            <a:solidFill>
              <a:srgbClr val="0033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402522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24pt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90100" y="153349"/>
            <a:ext cx="11211800" cy="369332"/>
          </a:xfrm>
        </p:spPr>
        <p:txBody>
          <a:bodyPr/>
          <a:lstStyle>
            <a:lvl1pPr>
              <a:defRPr sz="2400">
                <a:solidFill>
                  <a:srgbClr val="003366"/>
                </a:solidFill>
              </a:defRPr>
            </a:lvl1pPr>
          </a:lstStyle>
          <a:p>
            <a:r>
              <a:rPr lang="en-US" altLang="zh-TW" noProof="0"/>
              <a:t>Click to edit Master title style</a:t>
            </a:r>
            <a:endParaRPr lang="en-GB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altLang="zh-TW" noProof="0"/>
              <a:t>Click to edit Master text styles</a:t>
            </a:r>
          </a:p>
          <a:p>
            <a:pPr lvl="1"/>
            <a:r>
              <a:rPr lang="en-US" altLang="zh-TW" noProof="0"/>
              <a:t>Second level</a:t>
            </a:r>
          </a:p>
          <a:p>
            <a:pPr lvl="2"/>
            <a:r>
              <a:rPr lang="en-US" altLang="zh-TW" noProof="0"/>
              <a:t>Third level</a:t>
            </a:r>
          </a:p>
          <a:p>
            <a:pPr lvl="3"/>
            <a:r>
              <a:rPr lang="en-US" altLang="zh-TW" noProof="0"/>
              <a:t>Fourth level</a:t>
            </a:r>
          </a:p>
          <a:p>
            <a:pPr lvl="4"/>
            <a:r>
              <a:rPr lang="en-US" altLang="zh-TW" noProof="0"/>
              <a:t>Fifth level</a:t>
            </a:r>
            <a:endParaRPr lang="en-GB" noProof="0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E4B35C-2CFB-4984-B1A5-ABCEC85D20F8}" type="datetime1">
              <a:rPr lang="en-GB" noProof="0" smtClean="0"/>
              <a:t>14/12/2021</a:t>
            </a:fld>
            <a:endParaRPr lang="en-GB" noProof="0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3B55C4-4F5A-416B-997D-6CE47EB0A945}" type="slidenum">
              <a:rPr lang="en-GB" noProof="0" smtClean="0"/>
              <a:t>‹#›</a:t>
            </a:fld>
            <a:endParaRPr lang="en-GB" noProof="0" dirty="0"/>
          </a:p>
        </p:txBody>
      </p:sp>
      <p:cxnSp>
        <p:nvCxnSpPr>
          <p:cNvPr id="7" name="Gerade Verbindung 6"/>
          <p:cNvCxnSpPr/>
          <p:nvPr userDrawn="1"/>
        </p:nvCxnSpPr>
        <p:spPr>
          <a:xfrm>
            <a:off x="0" y="971453"/>
            <a:ext cx="12192000" cy="0"/>
          </a:xfrm>
          <a:prstGeom prst="line">
            <a:avLst/>
          </a:prstGeom>
          <a:ln w="12700">
            <a:solidFill>
              <a:srgbClr val="0033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20868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page_0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2362098" y="1600202"/>
            <a:ext cx="7488001" cy="4525963"/>
          </a:xfrm>
        </p:spPr>
        <p:txBody>
          <a:bodyPr/>
          <a:lstStyle>
            <a:lvl1pPr marL="0" indent="0">
              <a:spcBef>
                <a:spcPts val="600"/>
              </a:spcBef>
              <a:buNone/>
              <a:defRPr/>
            </a:lvl1pPr>
            <a:lvl2pPr marL="182563" indent="-182563">
              <a:spcBef>
                <a:spcPts val="600"/>
              </a:spcBef>
              <a:buFont typeface="BISans" panose="02000503040000020004" pitchFamily="2" charset="0"/>
              <a:buChar char="•"/>
              <a:defRPr/>
            </a:lvl2pPr>
            <a:lvl3pPr marL="358775" indent="-176213">
              <a:buFont typeface="Arial" panose="020B0604020202020204" pitchFamily="34" charset="0"/>
              <a:buChar char="–"/>
              <a:defRPr/>
            </a:lvl3pPr>
          </a:lstStyle>
          <a:p>
            <a:pPr lvl="0"/>
            <a:r>
              <a:rPr lang="en-US" altLang="zh-TW" noProof="0"/>
              <a:t>Click to edit Master text styles</a:t>
            </a:r>
          </a:p>
          <a:p>
            <a:pPr lvl="1"/>
            <a:r>
              <a:rPr lang="en-US" altLang="zh-TW" noProof="0"/>
              <a:t>Second level</a:t>
            </a:r>
          </a:p>
          <a:p>
            <a:pPr lvl="2"/>
            <a:r>
              <a:rPr lang="en-US" altLang="zh-TW" noProof="0"/>
              <a:t>Third level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C90F8743-0E6F-41EA-91A8-8122DB0D84F5}" type="datetime1">
              <a:rPr lang="en-GB" noProof="0" smtClean="0"/>
              <a:t>14/12/2021</a:t>
            </a:fld>
            <a:endParaRPr lang="en-GB" noProof="0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143B55C4-4F5A-416B-997D-6CE47EB0A945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14" name="Titel 1"/>
          <p:cNvSpPr>
            <a:spLocks noGrp="1"/>
          </p:cNvSpPr>
          <p:nvPr>
            <p:ph type="title"/>
          </p:nvPr>
        </p:nvSpPr>
        <p:spPr>
          <a:xfrm>
            <a:off x="490100" y="153349"/>
            <a:ext cx="11211800" cy="369332"/>
          </a:xfrm>
        </p:spPr>
        <p:txBody>
          <a:bodyPr/>
          <a:lstStyle>
            <a:lvl1pPr>
              <a:defRPr sz="2400">
                <a:solidFill>
                  <a:srgbClr val="003366"/>
                </a:solidFill>
              </a:defRPr>
            </a:lvl1pPr>
          </a:lstStyle>
          <a:p>
            <a:r>
              <a:rPr lang="en-US" altLang="zh-TW" noProof="0"/>
              <a:t>Click to edit Master title style</a:t>
            </a:r>
            <a:endParaRPr lang="en-GB" noProof="0" dirty="0"/>
          </a:p>
        </p:txBody>
      </p:sp>
      <p:cxnSp>
        <p:nvCxnSpPr>
          <p:cNvPr id="8" name="Gerade Verbindung 7"/>
          <p:cNvCxnSpPr/>
          <p:nvPr userDrawn="1"/>
        </p:nvCxnSpPr>
        <p:spPr>
          <a:xfrm>
            <a:off x="0" y="971453"/>
            <a:ext cx="12192000" cy="0"/>
          </a:xfrm>
          <a:prstGeom prst="line">
            <a:avLst/>
          </a:prstGeom>
          <a:ln w="12700">
            <a:solidFill>
              <a:srgbClr val="0033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5924" y="6578958"/>
            <a:ext cx="840360" cy="1905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20785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gram slide_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90101" y="1600202"/>
            <a:ext cx="3912567" cy="3710092"/>
          </a:xfrm>
        </p:spPr>
        <p:txBody>
          <a:bodyPr/>
          <a:lstStyle/>
          <a:p>
            <a:pPr lvl="0"/>
            <a:r>
              <a:rPr lang="en-US" altLang="zh-TW" noProof="0"/>
              <a:t>Click to edit Master text styles</a:t>
            </a:r>
          </a:p>
          <a:p>
            <a:pPr lvl="1"/>
            <a:r>
              <a:rPr lang="en-US" altLang="zh-TW" noProof="0"/>
              <a:t>Second level</a:t>
            </a:r>
          </a:p>
          <a:p>
            <a:pPr lvl="2"/>
            <a:r>
              <a:rPr lang="en-US" altLang="zh-TW" noProof="0"/>
              <a:t>Third level</a:t>
            </a:r>
          </a:p>
          <a:p>
            <a:pPr lvl="3"/>
            <a:r>
              <a:rPr lang="en-US" altLang="zh-TW" noProof="0"/>
              <a:t>Fourth level</a:t>
            </a:r>
          </a:p>
          <a:p>
            <a:pPr lvl="4"/>
            <a:r>
              <a:rPr lang="en-US" altLang="zh-TW" noProof="0"/>
              <a:t>Fifth level</a:t>
            </a:r>
            <a:endParaRPr lang="en-GB" noProof="0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78DA1FEC-CBCE-41CB-A00E-A142F817B3A7}" type="datetime1">
              <a:rPr lang="en-GB" noProof="0" smtClean="0"/>
              <a:t>14/12/2021</a:t>
            </a:fld>
            <a:endParaRPr lang="en-GB" noProof="0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143B55C4-4F5A-416B-997D-6CE47EB0A945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16" name="Titel 1"/>
          <p:cNvSpPr>
            <a:spLocks noGrp="1"/>
          </p:cNvSpPr>
          <p:nvPr>
            <p:ph type="title"/>
          </p:nvPr>
        </p:nvSpPr>
        <p:spPr>
          <a:xfrm>
            <a:off x="490100" y="153349"/>
            <a:ext cx="11211800" cy="369332"/>
          </a:xfrm>
        </p:spPr>
        <p:txBody>
          <a:bodyPr/>
          <a:lstStyle>
            <a:lvl1pPr>
              <a:defRPr sz="2400">
                <a:solidFill>
                  <a:srgbClr val="003366"/>
                </a:solidFill>
              </a:defRPr>
            </a:lvl1pPr>
          </a:lstStyle>
          <a:p>
            <a:r>
              <a:rPr lang="en-US" altLang="zh-TW" noProof="0"/>
              <a:t>Click to edit Master title style</a:t>
            </a:r>
            <a:endParaRPr lang="en-GB" noProof="0" dirty="0"/>
          </a:p>
        </p:txBody>
      </p:sp>
      <p:cxnSp>
        <p:nvCxnSpPr>
          <p:cNvPr id="8" name="Gerade Verbindung 7"/>
          <p:cNvCxnSpPr/>
          <p:nvPr userDrawn="1"/>
        </p:nvCxnSpPr>
        <p:spPr>
          <a:xfrm>
            <a:off x="0" y="971453"/>
            <a:ext cx="12192000" cy="0"/>
          </a:xfrm>
          <a:prstGeom prst="line">
            <a:avLst/>
          </a:prstGeom>
          <a:ln w="12700">
            <a:solidFill>
              <a:srgbClr val="0033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5924" y="6578958"/>
            <a:ext cx="840360" cy="1905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06028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95A03C-FB3C-4331-9FA1-4886C0A46E98}" type="datetime1">
              <a:rPr lang="en-GB" noProof="0" smtClean="0"/>
              <a:t>14/12/2021</a:t>
            </a:fld>
            <a:endParaRPr lang="en-GB" noProof="0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3B55C4-4F5A-416B-997D-6CE47EB0A945}" type="slidenum">
              <a:rPr lang="en-GB" noProof="0" smtClean="0"/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0947749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page_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11"/>
          <p:cNvSpPr/>
          <p:nvPr userDrawn="1"/>
        </p:nvSpPr>
        <p:spPr>
          <a:xfrm>
            <a:off x="0" y="2928494"/>
            <a:ext cx="12192000" cy="3929507"/>
          </a:xfrm>
          <a:prstGeom prst="rect">
            <a:avLst/>
          </a:prstGeom>
          <a:gradFill>
            <a:gsLst>
              <a:gs pos="0">
                <a:srgbClr val="6699CC">
                  <a:alpha val="40000"/>
                </a:srgbClr>
              </a:gs>
              <a:gs pos="100000">
                <a:srgbClr val="FFFFFF"/>
              </a:gs>
            </a:gsLst>
            <a:lin ang="162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sz="1400" dirty="0">
              <a:solidFill>
                <a:prstClr val="black"/>
              </a:solidFill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231" t="19013" b="13976"/>
          <a:stretch/>
        </p:blipFill>
        <p:spPr bwMode="auto">
          <a:xfrm>
            <a:off x="0" y="0"/>
            <a:ext cx="8573053" cy="685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24" name="Gerade Verbindung 23"/>
          <p:cNvCxnSpPr/>
          <p:nvPr/>
        </p:nvCxnSpPr>
        <p:spPr>
          <a:xfrm>
            <a:off x="3" y="2492389"/>
            <a:ext cx="12191999" cy="0"/>
          </a:xfrm>
          <a:prstGeom prst="line">
            <a:avLst/>
          </a:prstGeom>
          <a:ln w="12700">
            <a:solidFill>
              <a:srgbClr val="0033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490101" y="2654884"/>
            <a:ext cx="7845825" cy="738664"/>
          </a:xfrm>
        </p:spPr>
        <p:txBody>
          <a:bodyPr wrap="square" lIns="0">
            <a:spAutoFit/>
          </a:bodyPr>
          <a:lstStyle>
            <a:lvl1pPr>
              <a:defRPr sz="4800">
                <a:solidFill>
                  <a:srgbClr val="003366"/>
                </a:solidFill>
              </a:defRPr>
            </a:lvl1pPr>
          </a:lstStyle>
          <a:p>
            <a:r>
              <a:rPr lang="en-GB" noProof="0" dirty="0" err="1"/>
              <a:t>Titel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490101" y="4763671"/>
            <a:ext cx="7845825" cy="369332"/>
          </a:xfrm>
        </p:spPr>
        <p:txBody>
          <a:bodyPr wrap="square">
            <a:spAutoFit/>
          </a:bodyPr>
          <a:lstStyle>
            <a:lvl1pPr marL="0" indent="0" algn="l">
              <a:buNone/>
              <a:defRPr sz="2400">
                <a:solidFill>
                  <a:srgbClr val="003366"/>
                </a:solidFill>
                <a:latin typeface="BISansCond" panose="02000006050000020004" pitchFamily="2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 dirty="0" err="1"/>
              <a:t>Untertitel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  <p:cxnSp>
        <p:nvCxnSpPr>
          <p:cNvPr id="10" name="Gerade Verbindung 9"/>
          <p:cNvCxnSpPr/>
          <p:nvPr userDrawn="1"/>
        </p:nvCxnSpPr>
        <p:spPr>
          <a:xfrm>
            <a:off x="3" y="2492389"/>
            <a:ext cx="12191999" cy="0"/>
          </a:xfrm>
          <a:prstGeom prst="line">
            <a:avLst/>
          </a:prstGeom>
          <a:ln w="12700">
            <a:solidFill>
              <a:srgbClr val="0033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Grafik 14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22958" y="6120399"/>
            <a:ext cx="1679601" cy="381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1641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age_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eck 12"/>
          <p:cNvSpPr/>
          <p:nvPr userDrawn="1"/>
        </p:nvSpPr>
        <p:spPr>
          <a:xfrm>
            <a:off x="0" y="2928494"/>
            <a:ext cx="12192000" cy="3929507"/>
          </a:xfrm>
          <a:prstGeom prst="rect">
            <a:avLst/>
          </a:prstGeom>
          <a:gradFill>
            <a:gsLst>
              <a:gs pos="0">
                <a:srgbClr val="6699CC">
                  <a:alpha val="40000"/>
                </a:srgbClr>
              </a:gs>
              <a:gs pos="100000">
                <a:srgbClr val="FFFFFF"/>
              </a:gs>
            </a:gsLst>
            <a:lin ang="162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sz="1400" dirty="0">
              <a:solidFill>
                <a:prstClr val="black"/>
              </a:solidFill>
            </a:endParaRPr>
          </a:p>
        </p:txBody>
      </p:sp>
      <p:pic>
        <p:nvPicPr>
          <p:cNvPr id="14" name="Picture 2"/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231" t="19013" b="13976"/>
          <a:stretch/>
        </p:blipFill>
        <p:spPr bwMode="auto">
          <a:xfrm>
            <a:off x="0" y="0"/>
            <a:ext cx="8573053" cy="685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24" name="Gerade Verbindung 23"/>
          <p:cNvCxnSpPr/>
          <p:nvPr/>
        </p:nvCxnSpPr>
        <p:spPr>
          <a:xfrm>
            <a:off x="3" y="2492389"/>
            <a:ext cx="12191999" cy="0"/>
          </a:xfrm>
          <a:prstGeom prst="line">
            <a:avLst/>
          </a:prstGeom>
          <a:ln w="12700">
            <a:solidFill>
              <a:srgbClr val="0033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490100" y="2654884"/>
            <a:ext cx="7166475" cy="738664"/>
          </a:xfrm>
        </p:spPr>
        <p:txBody>
          <a:bodyPr wrap="square">
            <a:spAutoFit/>
          </a:bodyPr>
          <a:lstStyle>
            <a:lvl1pPr>
              <a:defRPr sz="4800">
                <a:solidFill>
                  <a:srgbClr val="003366"/>
                </a:solidFill>
              </a:defRPr>
            </a:lvl1pPr>
          </a:lstStyle>
          <a:p>
            <a:r>
              <a:rPr lang="en-GB" noProof="0" dirty="0" err="1"/>
              <a:t>Titel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490100" y="4763671"/>
            <a:ext cx="7166475" cy="369332"/>
          </a:xfrm>
        </p:spPr>
        <p:txBody>
          <a:bodyPr wrap="square">
            <a:spAutoFit/>
          </a:bodyPr>
          <a:lstStyle>
            <a:lvl1pPr marL="0" indent="0" algn="l">
              <a:buNone/>
              <a:defRPr sz="2400">
                <a:solidFill>
                  <a:srgbClr val="003366"/>
                </a:solidFill>
                <a:latin typeface="BISansCond" panose="02000006050000020004" pitchFamily="2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 dirty="0" err="1"/>
              <a:t>Untertitel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  <p:cxnSp>
        <p:nvCxnSpPr>
          <p:cNvPr id="11" name="Gerade Verbindung 10"/>
          <p:cNvCxnSpPr/>
          <p:nvPr userDrawn="1"/>
        </p:nvCxnSpPr>
        <p:spPr>
          <a:xfrm>
            <a:off x="3" y="2492389"/>
            <a:ext cx="12191999" cy="0"/>
          </a:xfrm>
          <a:prstGeom prst="line">
            <a:avLst/>
          </a:prstGeom>
          <a:ln w="12700">
            <a:solidFill>
              <a:srgbClr val="0033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724524" y="749516"/>
            <a:ext cx="3014400" cy="2260800"/>
          </a:xfrm>
          <a:prstGeom prst="ellipse">
            <a:avLst/>
          </a:prstGeom>
          <a:gradFill flip="none" rotWithShape="1">
            <a:gsLst>
              <a:gs pos="0">
                <a:srgbClr val="002142"/>
              </a:gs>
              <a:gs pos="100000">
                <a:srgbClr val="275187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>
            <a:normAutofit/>
          </a:bodyPr>
          <a:lstStyle>
            <a:lvl1pPr marL="0" indent="0" algn="ctr">
              <a:buNone/>
              <a:defRPr lang="de-DE" sz="3000" dirty="0">
                <a:solidFill>
                  <a:schemeClr val="bg1"/>
                </a:solidFill>
                <a:latin typeface="+mj-lt"/>
              </a:defRPr>
            </a:lvl1pPr>
          </a:lstStyle>
          <a:p>
            <a:pPr marL="0" lvl="0" algn="ctr"/>
            <a:r>
              <a:rPr lang="en-GB" noProof="0" dirty="0"/>
              <a:t>Add. info [font size variable]</a:t>
            </a:r>
          </a:p>
        </p:txBody>
      </p: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22958" y="6120399"/>
            <a:ext cx="1679601" cy="381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35011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_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eck 12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rgbClr val="89C0FF"/>
              </a:gs>
              <a:gs pos="100000">
                <a:srgbClr val="5486C1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dirty="0">
              <a:solidFill>
                <a:prstClr val="white"/>
              </a:solidFill>
            </a:endParaRPr>
          </a:p>
        </p:txBody>
      </p:sp>
      <p:cxnSp>
        <p:nvCxnSpPr>
          <p:cNvPr id="17" name="Gerade Verbindung 16"/>
          <p:cNvCxnSpPr/>
          <p:nvPr/>
        </p:nvCxnSpPr>
        <p:spPr>
          <a:xfrm>
            <a:off x="0" y="2492389"/>
            <a:ext cx="12192000" cy="0"/>
          </a:xfrm>
          <a:prstGeom prst="line">
            <a:avLst/>
          </a:prstGeom>
          <a:ln w="1270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Textplatzhalter 18"/>
          <p:cNvSpPr>
            <a:spLocks noGrp="1"/>
          </p:cNvSpPr>
          <p:nvPr>
            <p:ph type="body" sz="quarter" idx="11"/>
          </p:nvPr>
        </p:nvSpPr>
        <p:spPr>
          <a:xfrm>
            <a:off x="469109" y="2640129"/>
            <a:ext cx="5412316" cy="1477328"/>
          </a:xfrm>
        </p:spPr>
        <p:txBody>
          <a:bodyPr wrap="square">
            <a:spAutoFit/>
          </a:bodyPr>
          <a:lstStyle>
            <a:lvl1pPr marL="0" indent="0">
              <a:buNone/>
              <a:defRPr sz="4800">
                <a:solidFill>
                  <a:schemeClr val="bg1"/>
                </a:solidFill>
                <a:latin typeface="BISansCond" panose="02000006050000020004" pitchFamily="2" charset="0"/>
              </a:defRPr>
            </a:lvl1pPr>
          </a:lstStyle>
          <a:p>
            <a:pPr lvl="0"/>
            <a:r>
              <a:rPr lang="en-US" altLang="zh-TW" noProof="0"/>
              <a:t>Click to edit Master text styles</a:t>
            </a:r>
          </a:p>
        </p:txBody>
      </p:sp>
      <p:sp>
        <p:nvSpPr>
          <p:cNvPr id="20" name="Textplatzhalter 18"/>
          <p:cNvSpPr>
            <a:spLocks noGrp="1"/>
          </p:cNvSpPr>
          <p:nvPr>
            <p:ph type="body" sz="quarter" idx="12"/>
          </p:nvPr>
        </p:nvSpPr>
        <p:spPr>
          <a:xfrm>
            <a:off x="469105" y="3718148"/>
            <a:ext cx="5412315" cy="369332"/>
          </a:xfrm>
        </p:spPr>
        <p:txBody>
          <a:bodyPr wrap="square">
            <a:spAutoFit/>
          </a:bodyPr>
          <a:lstStyle>
            <a:lvl1pPr marL="0" indent="0">
              <a:buNone/>
              <a:defRPr sz="2400">
                <a:solidFill>
                  <a:schemeClr val="bg1"/>
                </a:solidFill>
                <a:latin typeface="BISansCond" panose="02000006050000020004" pitchFamily="2" charset="0"/>
              </a:defRPr>
            </a:lvl1pPr>
          </a:lstStyle>
          <a:p>
            <a:pPr lvl="0"/>
            <a:r>
              <a:rPr lang="en-US" altLang="zh-TW" noProof="0"/>
              <a:t>Click to edit Master text styles</a:t>
            </a:r>
          </a:p>
        </p:txBody>
      </p:sp>
      <p:cxnSp>
        <p:nvCxnSpPr>
          <p:cNvPr id="10" name="Gerade Verbindung 9"/>
          <p:cNvCxnSpPr/>
          <p:nvPr userDrawn="1"/>
        </p:nvCxnSpPr>
        <p:spPr>
          <a:xfrm>
            <a:off x="0" y="2492389"/>
            <a:ext cx="12192000" cy="0"/>
          </a:xfrm>
          <a:prstGeom prst="line">
            <a:avLst/>
          </a:prstGeom>
          <a:ln w="1270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26265" y="6120399"/>
            <a:ext cx="1679601" cy="381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8889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_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eck 12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rgbClr val="89C0FF"/>
              </a:gs>
              <a:gs pos="100000">
                <a:srgbClr val="5486C1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dirty="0">
              <a:solidFill>
                <a:prstClr val="white"/>
              </a:solidFill>
            </a:endParaRPr>
          </a:p>
        </p:txBody>
      </p:sp>
      <p:cxnSp>
        <p:nvCxnSpPr>
          <p:cNvPr id="17" name="Gerade Verbindung 16"/>
          <p:cNvCxnSpPr/>
          <p:nvPr/>
        </p:nvCxnSpPr>
        <p:spPr>
          <a:xfrm>
            <a:off x="0" y="2492389"/>
            <a:ext cx="12192000" cy="0"/>
          </a:xfrm>
          <a:prstGeom prst="line">
            <a:avLst/>
          </a:prstGeom>
          <a:ln w="1270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Textplatzhalter 18"/>
          <p:cNvSpPr>
            <a:spLocks noGrp="1"/>
          </p:cNvSpPr>
          <p:nvPr>
            <p:ph type="body" sz="quarter" idx="11"/>
          </p:nvPr>
        </p:nvSpPr>
        <p:spPr>
          <a:xfrm>
            <a:off x="469109" y="2640129"/>
            <a:ext cx="5412316" cy="1477328"/>
          </a:xfrm>
        </p:spPr>
        <p:txBody>
          <a:bodyPr wrap="square">
            <a:spAutoFit/>
          </a:bodyPr>
          <a:lstStyle>
            <a:lvl1pPr marL="0" indent="0">
              <a:buNone/>
              <a:defRPr sz="4800">
                <a:solidFill>
                  <a:schemeClr val="bg1"/>
                </a:solidFill>
                <a:latin typeface="BISansCond" panose="02000006050000020004" pitchFamily="2" charset="0"/>
              </a:defRPr>
            </a:lvl1pPr>
          </a:lstStyle>
          <a:p>
            <a:pPr lvl="0"/>
            <a:r>
              <a:rPr lang="en-US" altLang="zh-TW" noProof="0"/>
              <a:t>Click to edit Master text styles</a:t>
            </a:r>
          </a:p>
        </p:txBody>
      </p:sp>
      <p:sp>
        <p:nvSpPr>
          <p:cNvPr id="20" name="Textplatzhalter 18"/>
          <p:cNvSpPr>
            <a:spLocks noGrp="1"/>
          </p:cNvSpPr>
          <p:nvPr>
            <p:ph type="body" sz="quarter" idx="12"/>
          </p:nvPr>
        </p:nvSpPr>
        <p:spPr>
          <a:xfrm>
            <a:off x="469105" y="3718148"/>
            <a:ext cx="5412315" cy="369332"/>
          </a:xfrm>
        </p:spPr>
        <p:txBody>
          <a:bodyPr wrap="square">
            <a:spAutoFit/>
          </a:bodyPr>
          <a:lstStyle>
            <a:lvl1pPr marL="0" indent="0">
              <a:buNone/>
              <a:defRPr sz="2400">
                <a:solidFill>
                  <a:schemeClr val="bg1"/>
                </a:solidFill>
                <a:latin typeface="BISansCond" panose="02000006050000020004" pitchFamily="2" charset="0"/>
              </a:defRPr>
            </a:lvl1pPr>
          </a:lstStyle>
          <a:p>
            <a:pPr lvl="0"/>
            <a:r>
              <a:rPr lang="en-US" altLang="zh-TW" noProof="0"/>
              <a:t>Click to edit Master text styles</a:t>
            </a:r>
          </a:p>
        </p:txBody>
      </p:sp>
      <p:cxnSp>
        <p:nvCxnSpPr>
          <p:cNvPr id="10" name="Gerade Verbindung 9"/>
          <p:cNvCxnSpPr/>
          <p:nvPr userDrawn="1"/>
        </p:nvCxnSpPr>
        <p:spPr>
          <a:xfrm>
            <a:off x="0" y="2492389"/>
            <a:ext cx="12192000" cy="0"/>
          </a:xfrm>
          <a:prstGeom prst="line">
            <a:avLst/>
          </a:prstGeom>
          <a:ln w="1270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5" name="Textplatzhalter 24"/>
          <p:cNvSpPr>
            <a:spLocks noGrp="1"/>
          </p:cNvSpPr>
          <p:nvPr>
            <p:ph type="body" sz="quarter" idx="13" hasCustomPrompt="1"/>
          </p:nvPr>
        </p:nvSpPr>
        <p:spPr>
          <a:xfrm>
            <a:off x="6088023" y="970175"/>
            <a:ext cx="3691200" cy="2768400"/>
          </a:xfrm>
          <a:prstGeom prst="ellipse">
            <a:avLst/>
          </a:prstGeom>
          <a:gradFill>
            <a:gsLst>
              <a:gs pos="0">
                <a:schemeClr val="bg1"/>
              </a:gs>
              <a:gs pos="100000">
                <a:schemeClr val="bg1">
                  <a:alpha val="59000"/>
                </a:schemeClr>
              </a:gs>
            </a:gsLst>
            <a:lin ang="9000000" scaled="0"/>
          </a:gradFill>
          <a:ln>
            <a:noFill/>
          </a:ln>
        </p:spPr>
        <p:txBody>
          <a:bodyPr anchor="ctr" anchorCtr="0"/>
          <a:lstStyle>
            <a:lvl1pPr marL="0" indent="0" algn="ctr">
              <a:spcBef>
                <a:spcPts val="0"/>
              </a:spcBef>
              <a:buNone/>
              <a:defRPr sz="2400">
                <a:solidFill>
                  <a:srgbClr val="003366"/>
                </a:solidFill>
                <a:latin typeface="BISansCond" panose="02000006050000020004" pitchFamily="2" charset="0"/>
              </a:defRPr>
            </a:lvl1pPr>
          </a:lstStyle>
          <a:p>
            <a:pPr lvl="0"/>
            <a:r>
              <a:rPr lang="en-GB" noProof="0" dirty="0" err="1"/>
              <a:t>Textmaster</a:t>
            </a:r>
            <a:r>
              <a:rPr lang="en-GB" noProof="0" dirty="0"/>
              <a:t>-format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26265" y="6120399"/>
            <a:ext cx="1679601" cy="381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73404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  <a:endParaRPr lang="en-GB"/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  <a:endParaRPr lang="en-GB"/>
          </a:p>
        </p:txBody>
      </p:sp>
      <p:sp>
        <p:nvSpPr>
          <p:cNvPr id="4" name="日期版面配置區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F7C110F-EBFA-4701-8ACE-E427BC2D1921}" type="datetimeFigureOut">
              <a:rPr lang="en-GB"/>
              <a:pPr>
                <a:defRPr/>
              </a:pPr>
              <a:t>14/12/2021</a:t>
            </a:fld>
            <a:endParaRPr lang="en-GB" dirty="0"/>
          </a:p>
        </p:txBody>
      </p:sp>
      <p:sp>
        <p:nvSpPr>
          <p:cNvPr id="5" name="頁尾版面配置區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6" name="投影片編號版面配置區 5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3564DAE9-A149-44C7-AB9D-F257E3821558}" type="slidenum">
              <a:rPr lang="en-GB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6651085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_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hteck 1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rgbClr val="89C0FF"/>
              </a:gs>
              <a:gs pos="100000">
                <a:srgbClr val="5486C1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dirty="0">
              <a:solidFill>
                <a:prstClr val="white"/>
              </a:solidFill>
            </a:endParaRPr>
          </a:p>
        </p:txBody>
      </p:sp>
      <p:cxnSp>
        <p:nvCxnSpPr>
          <p:cNvPr id="17" name="Gerade Verbindung 16"/>
          <p:cNvCxnSpPr/>
          <p:nvPr/>
        </p:nvCxnSpPr>
        <p:spPr>
          <a:xfrm>
            <a:off x="0" y="2492389"/>
            <a:ext cx="12192000" cy="0"/>
          </a:xfrm>
          <a:prstGeom prst="line">
            <a:avLst/>
          </a:prstGeom>
          <a:ln w="1270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Textplatzhalter 18"/>
          <p:cNvSpPr>
            <a:spLocks noGrp="1"/>
          </p:cNvSpPr>
          <p:nvPr>
            <p:ph type="body" sz="quarter" idx="11"/>
          </p:nvPr>
        </p:nvSpPr>
        <p:spPr>
          <a:xfrm>
            <a:off x="469109" y="2640129"/>
            <a:ext cx="5412316" cy="1477328"/>
          </a:xfrm>
        </p:spPr>
        <p:txBody>
          <a:bodyPr wrap="square">
            <a:spAutoFit/>
          </a:bodyPr>
          <a:lstStyle>
            <a:lvl1pPr marL="0" indent="0">
              <a:buNone/>
              <a:defRPr sz="4800">
                <a:solidFill>
                  <a:schemeClr val="bg1"/>
                </a:solidFill>
                <a:latin typeface="BISansCond" panose="02000006050000020004" pitchFamily="2" charset="0"/>
              </a:defRPr>
            </a:lvl1pPr>
          </a:lstStyle>
          <a:p>
            <a:pPr lvl="0"/>
            <a:r>
              <a:rPr lang="en-US" altLang="zh-TW" noProof="0"/>
              <a:t>Click to edit Master text styles</a:t>
            </a:r>
          </a:p>
        </p:txBody>
      </p:sp>
      <p:sp>
        <p:nvSpPr>
          <p:cNvPr id="20" name="Textplatzhalter 18"/>
          <p:cNvSpPr>
            <a:spLocks noGrp="1"/>
          </p:cNvSpPr>
          <p:nvPr>
            <p:ph type="body" sz="quarter" idx="12"/>
          </p:nvPr>
        </p:nvSpPr>
        <p:spPr>
          <a:xfrm>
            <a:off x="469105" y="3718148"/>
            <a:ext cx="3939523" cy="369332"/>
          </a:xfrm>
        </p:spPr>
        <p:txBody>
          <a:bodyPr wrap="square">
            <a:spAutoFit/>
          </a:bodyPr>
          <a:lstStyle>
            <a:lvl1pPr marL="0" indent="0">
              <a:buNone/>
              <a:defRPr sz="2400">
                <a:solidFill>
                  <a:schemeClr val="bg1"/>
                </a:solidFill>
                <a:latin typeface="BISansCond" panose="02000006050000020004" pitchFamily="2" charset="0"/>
              </a:defRPr>
            </a:lvl1pPr>
          </a:lstStyle>
          <a:p>
            <a:pPr lvl="0"/>
            <a:r>
              <a:rPr lang="en-US" altLang="zh-TW" noProof="0"/>
              <a:t>Click to edit Master text styles</a:t>
            </a:r>
          </a:p>
        </p:txBody>
      </p:sp>
      <p:cxnSp>
        <p:nvCxnSpPr>
          <p:cNvPr id="13" name="Gerade Verbindung 12"/>
          <p:cNvCxnSpPr/>
          <p:nvPr userDrawn="1"/>
        </p:nvCxnSpPr>
        <p:spPr>
          <a:xfrm>
            <a:off x="0" y="2492389"/>
            <a:ext cx="12192000" cy="0"/>
          </a:xfrm>
          <a:prstGeom prst="line">
            <a:avLst/>
          </a:prstGeom>
          <a:ln w="1270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Textplatzhalter 24"/>
          <p:cNvSpPr>
            <a:spLocks noGrp="1"/>
          </p:cNvSpPr>
          <p:nvPr>
            <p:ph type="body" sz="quarter" idx="14" hasCustomPrompt="1"/>
          </p:nvPr>
        </p:nvSpPr>
        <p:spPr>
          <a:xfrm>
            <a:off x="6088023" y="970175"/>
            <a:ext cx="3691200" cy="2768400"/>
          </a:xfrm>
          <a:prstGeom prst="ellipse">
            <a:avLst/>
          </a:prstGeom>
          <a:gradFill>
            <a:gsLst>
              <a:gs pos="0">
                <a:schemeClr val="bg1"/>
              </a:gs>
              <a:gs pos="100000">
                <a:schemeClr val="bg1">
                  <a:alpha val="59000"/>
                </a:schemeClr>
              </a:gs>
            </a:gsLst>
            <a:lin ang="9000000" scaled="0"/>
          </a:gradFill>
          <a:ln>
            <a:noFill/>
          </a:ln>
        </p:spPr>
        <p:txBody>
          <a:bodyPr anchor="ctr" anchorCtr="0"/>
          <a:lstStyle>
            <a:lvl1pPr marL="0" indent="0" algn="ctr">
              <a:spcBef>
                <a:spcPts val="0"/>
              </a:spcBef>
              <a:buNone/>
              <a:defRPr sz="2400">
                <a:solidFill>
                  <a:srgbClr val="003366"/>
                </a:solidFill>
                <a:latin typeface="BISansCond" panose="02000006050000020004" pitchFamily="2" charset="0"/>
              </a:defRPr>
            </a:lvl1pPr>
          </a:lstStyle>
          <a:p>
            <a:pPr lvl="0"/>
            <a:r>
              <a:rPr lang="en-GB" noProof="0" dirty="0" err="1"/>
              <a:t>Textmaster</a:t>
            </a:r>
            <a:r>
              <a:rPr lang="en-GB" noProof="0" dirty="0"/>
              <a:t>-format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  <p:sp>
        <p:nvSpPr>
          <p:cNvPr id="23" name="Bildplatzhalter 22"/>
          <p:cNvSpPr>
            <a:spLocks noGrp="1"/>
          </p:cNvSpPr>
          <p:nvPr>
            <p:ph type="pic" sz="quarter" idx="13"/>
          </p:nvPr>
        </p:nvSpPr>
        <p:spPr>
          <a:xfrm>
            <a:off x="5799691" y="3500533"/>
            <a:ext cx="3014400" cy="2260800"/>
          </a:xfrm>
          <a:prstGeom prst="ellipse">
            <a:avLst/>
          </a:prstGeom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en-US" altLang="zh-TW" noProof="0"/>
              <a:t>Click icon to add picture</a:t>
            </a:r>
            <a:endParaRPr lang="en-GB" noProof="0" dirty="0"/>
          </a:p>
        </p:txBody>
      </p: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26265" y="6120399"/>
            <a:ext cx="1679601" cy="381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82334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page_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 userDrawn="1"/>
        </p:nvSpPr>
        <p:spPr>
          <a:xfrm>
            <a:off x="0" y="2928494"/>
            <a:ext cx="12192000" cy="3929507"/>
          </a:xfrm>
          <a:prstGeom prst="rect">
            <a:avLst/>
          </a:prstGeom>
          <a:gradFill>
            <a:gsLst>
              <a:gs pos="0">
                <a:srgbClr val="6699CC">
                  <a:alpha val="40000"/>
                </a:srgbClr>
              </a:gs>
              <a:gs pos="100000">
                <a:srgbClr val="FFFFFF"/>
              </a:gs>
            </a:gsLst>
            <a:lin ang="162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sz="1400" dirty="0">
              <a:solidFill>
                <a:prstClr val="black"/>
              </a:solidFill>
            </a:endParaRPr>
          </a:p>
        </p:txBody>
      </p:sp>
      <p:cxnSp>
        <p:nvCxnSpPr>
          <p:cNvPr id="5" name="Gerade Verbindung 4"/>
          <p:cNvCxnSpPr/>
          <p:nvPr userDrawn="1"/>
        </p:nvCxnSpPr>
        <p:spPr>
          <a:xfrm>
            <a:off x="0" y="971453"/>
            <a:ext cx="12192000" cy="0"/>
          </a:xfrm>
          <a:prstGeom prst="line">
            <a:avLst/>
          </a:prstGeom>
          <a:ln w="12700">
            <a:solidFill>
              <a:srgbClr val="0033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5924" y="6578970"/>
            <a:ext cx="840360" cy="190511"/>
          </a:xfrm>
          <a:prstGeom prst="rect">
            <a:avLst/>
          </a:prstGeom>
        </p:spPr>
      </p:pic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/>
              <a:t>Click to edit Master title styl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8F670B-D7B9-419C-9EDC-EEA2E815864B}" type="datetime1">
              <a:rPr lang="en-GB" smtClean="0">
                <a:solidFill>
                  <a:prstClr val="white">
                    <a:lumMod val="50000"/>
                  </a:prstClr>
                </a:solidFill>
              </a:rPr>
              <a:pPr/>
              <a:t>14/12/2021</a:t>
            </a:fld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3B55C4-4F5A-416B-997D-6CE47EB0A945}" type="slidenum">
              <a:rPr lang="en-GB" smtClean="0">
                <a:solidFill>
                  <a:prstClr val="white">
                    <a:lumMod val="50000"/>
                  </a:prstClr>
                </a:solidFill>
              </a:rPr>
              <a:pPr/>
              <a:t>‹#›</a:t>
            </a:fld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944679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page_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11"/>
          <p:cNvSpPr/>
          <p:nvPr userDrawn="1"/>
        </p:nvSpPr>
        <p:spPr>
          <a:xfrm>
            <a:off x="0" y="2928494"/>
            <a:ext cx="12192000" cy="3929507"/>
          </a:xfrm>
          <a:prstGeom prst="rect">
            <a:avLst/>
          </a:prstGeom>
          <a:gradFill>
            <a:gsLst>
              <a:gs pos="0">
                <a:srgbClr val="6699CC">
                  <a:alpha val="40000"/>
                </a:srgbClr>
              </a:gs>
              <a:gs pos="100000">
                <a:srgbClr val="FFFFFF"/>
              </a:gs>
            </a:gsLst>
            <a:lin ang="162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sz="1400" dirty="0">
              <a:solidFill>
                <a:prstClr val="black"/>
              </a:solidFill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altLang="zh-TW" noProof="0"/>
              <a:t>Click to edit Master text styles</a:t>
            </a:r>
          </a:p>
          <a:p>
            <a:pPr lvl="1"/>
            <a:r>
              <a:rPr lang="en-US" altLang="zh-TW" noProof="0"/>
              <a:t>Second level</a:t>
            </a:r>
          </a:p>
          <a:p>
            <a:pPr lvl="2"/>
            <a:r>
              <a:rPr lang="en-US" altLang="zh-TW" noProof="0"/>
              <a:t>Third level</a:t>
            </a:r>
          </a:p>
          <a:p>
            <a:pPr lvl="3"/>
            <a:r>
              <a:rPr lang="en-US" altLang="zh-TW" noProof="0"/>
              <a:t>Fourth level</a:t>
            </a:r>
          </a:p>
          <a:p>
            <a:pPr lvl="4"/>
            <a:r>
              <a:rPr lang="en-US" altLang="zh-TW" noProof="0"/>
              <a:t>Fifth level</a:t>
            </a:r>
            <a:endParaRPr lang="en-GB" noProof="0" dirty="0"/>
          </a:p>
        </p:txBody>
      </p:sp>
      <p:cxnSp>
        <p:nvCxnSpPr>
          <p:cNvPr id="5" name="Gerade Verbindung 4"/>
          <p:cNvCxnSpPr/>
          <p:nvPr/>
        </p:nvCxnSpPr>
        <p:spPr>
          <a:xfrm>
            <a:off x="0" y="971453"/>
            <a:ext cx="12192000" cy="0"/>
          </a:xfrm>
          <a:prstGeom prst="line">
            <a:avLst/>
          </a:prstGeom>
          <a:ln w="12700">
            <a:solidFill>
              <a:srgbClr val="0033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10"/>
          <p:cNvCxnSpPr/>
          <p:nvPr userDrawn="1"/>
        </p:nvCxnSpPr>
        <p:spPr>
          <a:xfrm>
            <a:off x="0" y="971453"/>
            <a:ext cx="12192000" cy="0"/>
          </a:xfrm>
          <a:prstGeom prst="line">
            <a:avLst/>
          </a:prstGeom>
          <a:ln w="12700">
            <a:solidFill>
              <a:srgbClr val="0033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5924" y="6578970"/>
            <a:ext cx="840360" cy="190511"/>
          </a:xfrm>
          <a:prstGeom prst="rect">
            <a:avLst/>
          </a:prstGeom>
        </p:spPr>
      </p:pic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0DDFAE-3DA3-4218-ADED-A2CB89D0520B}" type="datetime1">
              <a:rPr lang="en-GB" smtClean="0">
                <a:solidFill>
                  <a:prstClr val="white">
                    <a:lumMod val="50000"/>
                  </a:prstClr>
                </a:solidFill>
              </a:rPr>
              <a:pPr/>
              <a:t>14/12/2021</a:t>
            </a:fld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3B55C4-4F5A-416B-997D-6CE47EB0A945}" type="slidenum">
              <a:rPr lang="en-GB" smtClean="0">
                <a:solidFill>
                  <a:prstClr val="white">
                    <a:lumMod val="50000"/>
                  </a:prstClr>
                </a:solidFill>
              </a:rPr>
              <a:pPr/>
              <a:t>‹#›</a:t>
            </a:fld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4" name="Titel 13"/>
          <p:cNvSpPr>
            <a:spLocks noGrp="1"/>
          </p:cNvSpPr>
          <p:nvPr>
            <p:ph type="title"/>
          </p:nvPr>
        </p:nvSpPr>
        <p:spPr>
          <a:xfrm>
            <a:off x="490100" y="153349"/>
            <a:ext cx="11211800" cy="553998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 altLang="zh-TW"/>
              <a:t>Click to edit Master title sty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336280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page_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11"/>
          <p:cNvSpPr/>
          <p:nvPr userDrawn="1"/>
        </p:nvSpPr>
        <p:spPr>
          <a:xfrm>
            <a:off x="0" y="2928494"/>
            <a:ext cx="12192000" cy="3929507"/>
          </a:xfrm>
          <a:prstGeom prst="rect">
            <a:avLst/>
          </a:prstGeom>
          <a:gradFill>
            <a:gsLst>
              <a:gs pos="0">
                <a:srgbClr val="6699CC">
                  <a:alpha val="40000"/>
                </a:srgbClr>
              </a:gs>
              <a:gs pos="100000">
                <a:srgbClr val="FFFFFF"/>
              </a:gs>
            </a:gsLst>
            <a:lin ang="162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sz="1400" dirty="0">
              <a:solidFill>
                <a:prstClr val="black"/>
              </a:solidFill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altLang="zh-TW" noProof="0"/>
              <a:t>Click to edit Master text styles</a:t>
            </a:r>
          </a:p>
          <a:p>
            <a:pPr lvl="1"/>
            <a:r>
              <a:rPr lang="en-US" altLang="zh-TW" noProof="0"/>
              <a:t>Second level</a:t>
            </a:r>
          </a:p>
          <a:p>
            <a:pPr lvl="2"/>
            <a:r>
              <a:rPr lang="en-US" altLang="zh-TW" noProof="0"/>
              <a:t>Third level</a:t>
            </a:r>
          </a:p>
          <a:p>
            <a:pPr lvl="3"/>
            <a:r>
              <a:rPr lang="en-US" altLang="zh-TW" noProof="0"/>
              <a:t>Fourth level</a:t>
            </a:r>
          </a:p>
          <a:p>
            <a:pPr lvl="4"/>
            <a:r>
              <a:rPr lang="en-US" altLang="zh-TW" noProof="0"/>
              <a:t>Fifth level</a:t>
            </a:r>
            <a:endParaRPr lang="en-GB" noProof="0" dirty="0"/>
          </a:p>
        </p:txBody>
      </p:sp>
      <p:cxnSp>
        <p:nvCxnSpPr>
          <p:cNvPr id="5" name="Gerade Verbindung 4"/>
          <p:cNvCxnSpPr/>
          <p:nvPr/>
        </p:nvCxnSpPr>
        <p:spPr>
          <a:xfrm>
            <a:off x="0" y="971453"/>
            <a:ext cx="12192000" cy="0"/>
          </a:xfrm>
          <a:prstGeom prst="line">
            <a:avLst/>
          </a:prstGeom>
          <a:ln w="12700">
            <a:solidFill>
              <a:srgbClr val="0033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10"/>
          <p:cNvCxnSpPr/>
          <p:nvPr userDrawn="1"/>
        </p:nvCxnSpPr>
        <p:spPr>
          <a:xfrm>
            <a:off x="0" y="971453"/>
            <a:ext cx="12192000" cy="0"/>
          </a:xfrm>
          <a:prstGeom prst="line">
            <a:avLst/>
          </a:prstGeom>
          <a:ln w="12700">
            <a:solidFill>
              <a:srgbClr val="0033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5924" y="6578970"/>
            <a:ext cx="840360" cy="190511"/>
          </a:xfrm>
          <a:prstGeom prst="rect">
            <a:avLst/>
          </a:prstGeom>
        </p:spPr>
      </p:pic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/>
              <a:t>Click to edit Master title style</a:t>
            </a:r>
            <a:endParaRPr lang="de-DE"/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0DDFAE-3DA3-4218-ADED-A2CB89D0520B}" type="datetime1">
              <a:rPr lang="en-GB" smtClean="0">
                <a:solidFill>
                  <a:prstClr val="white">
                    <a:lumMod val="50000"/>
                  </a:prstClr>
                </a:solidFill>
              </a:rPr>
              <a:pPr/>
              <a:t>14/12/2021</a:t>
            </a:fld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3B55C4-4F5A-416B-997D-6CE47EB0A945}" type="slidenum">
              <a:rPr lang="en-GB" smtClean="0">
                <a:solidFill>
                  <a:prstClr val="white">
                    <a:lumMod val="50000"/>
                  </a:prstClr>
                </a:solidFill>
              </a:rPr>
              <a:pPr/>
              <a:t>‹#›</a:t>
            </a:fld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692099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page_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11"/>
          <p:cNvSpPr/>
          <p:nvPr userDrawn="1"/>
        </p:nvSpPr>
        <p:spPr>
          <a:xfrm>
            <a:off x="0" y="2928494"/>
            <a:ext cx="12192000" cy="3929507"/>
          </a:xfrm>
          <a:prstGeom prst="rect">
            <a:avLst/>
          </a:prstGeom>
          <a:gradFill>
            <a:gsLst>
              <a:gs pos="0">
                <a:srgbClr val="6699CC">
                  <a:alpha val="40000"/>
                </a:srgbClr>
              </a:gs>
              <a:gs pos="100000">
                <a:srgbClr val="FFFFFF"/>
              </a:gs>
            </a:gsLst>
            <a:lin ang="162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sz="1400" dirty="0">
              <a:solidFill>
                <a:prstClr val="black"/>
              </a:solidFill>
            </a:endParaRPr>
          </a:p>
        </p:txBody>
      </p:sp>
      <p:cxnSp>
        <p:nvCxnSpPr>
          <p:cNvPr id="5" name="Gerade Verbindung 4"/>
          <p:cNvCxnSpPr/>
          <p:nvPr/>
        </p:nvCxnSpPr>
        <p:spPr>
          <a:xfrm>
            <a:off x="0" y="971453"/>
            <a:ext cx="12192000" cy="0"/>
          </a:xfrm>
          <a:prstGeom prst="line">
            <a:avLst/>
          </a:prstGeom>
          <a:ln w="12700">
            <a:solidFill>
              <a:srgbClr val="0033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10"/>
          <p:cNvCxnSpPr/>
          <p:nvPr userDrawn="1"/>
        </p:nvCxnSpPr>
        <p:spPr>
          <a:xfrm>
            <a:off x="0" y="971453"/>
            <a:ext cx="12192000" cy="0"/>
          </a:xfrm>
          <a:prstGeom prst="line">
            <a:avLst/>
          </a:prstGeom>
          <a:ln w="12700">
            <a:solidFill>
              <a:srgbClr val="0033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Inhaltsplatzhalter 2"/>
          <p:cNvSpPr>
            <a:spLocks noGrp="1"/>
          </p:cNvSpPr>
          <p:nvPr>
            <p:ph idx="1"/>
          </p:nvPr>
        </p:nvSpPr>
        <p:spPr>
          <a:xfrm>
            <a:off x="2362098" y="1600202"/>
            <a:ext cx="7488001" cy="4525963"/>
          </a:xfrm>
        </p:spPr>
        <p:txBody>
          <a:bodyPr/>
          <a:lstStyle>
            <a:lvl1pPr marL="0" indent="0">
              <a:spcBef>
                <a:spcPts val="600"/>
              </a:spcBef>
              <a:buNone/>
              <a:defRPr/>
            </a:lvl1pPr>
            <a:lvl2pPr marL="182563" indent="-182563">
              <a:spcBef>
                <a:spcPts val="600"/>
              </a:spcBef>
              <a:buFont typeface="BISans" panose="02000503040000020004" pitchFamily="2" charset="0"/>
              <a:buChar char="•"/>
              <a:defRPr/>
            </a:lvl2pPr>
            <a:lvl3pPr marL="358775" indent="-176213">
              <a:buFont typeface="Arial" panose="020B0604020202020204" pitchFamily="34" charset="0"/>
              <a:buChar char="–"/>
              <a:defRPr/>
            </a:lvl3pPr>
          </a:lstStyle>
          <a:p>
            <a:pPr lvl="0"/>
            <a:r>
              <a:rPr lang="en-US" altLang="zh-TW" noProof="0"/>
              <a:t>Click to edit Master text styles</a:t>
            </a:r>
          </a:p>
          <a:p>
            <a:pPr lvl="1"/>
            <a:r>
              <a:rPr lang="en-US" altLang="zh-TW" noProof="0"/>
              <a:t>Second level</a:t>
            </a:r>
          </a:p>
          <a:p>
            <a:pPr lvl="2"/>
            <a:r>
              <a:rPr lang="en-US" altLang="zh-TW" noProof="0"/>
              <a:t>Third level</a:t>
            </a:r>
          </a:p>
        </p:txBody>
      </p: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5924" y="6578970"/>
            <a:ext cx="840360" cy="190511"/>
          </a:xfrm>
          <a:prstGeom prst="rect">
            <a:avLst/>
          </a:prstGeom>
        </p:spPr>
      </p:pic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96B648-F09C-46E0-BD0F-02867C1BCA59}" type="datetime1">
              <a:rPr lang="en-GB" smtClean="0">
                <a:solidFill>
                  <a:prstClr val="white">
                    <a:lumMod val="50000"/>
                  </a:prstClr>
                </a:solidFill>
              </a:rPr>
              <a:pPr/>
              <a:t>14/12/2021</a:t>
            </a:fld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3B55C4-4F5A-416B-997D-6CE47EB0A945}" type="slidenum">
              <a:rPr lang="en-GB" smtClean="0">
                <a:solidFill>
                  <a:prstClr val="white">
                    <a:lumMod val="50000"/>
                  </a:prstClr>
                </a:solidFill>
              </a:rPr>
              <a:pPr/>
              <a:t>‹#›</a:t>
            </a:fld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/>
              <a:t>Click to edit Master title styl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389693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gram slide_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hteck 13"/>
          <p:cNvSpPr/>
          <p:nvPr userDrawn="1"/>
        </p:nvSpPr>
        <p:spPr>
          <a:xfrm>
            <a:off x="0" y="2928494"/>
            <a:ext cx="12192000" cy="3929507"/>
          </a:xfrm>
          <a:prstGeom prst="rect">
            <a:avLst/>
          </a:prstGeom>
          <a:gradFill>
            <a:gsLst>
              <a:gs pos="0">
                <a:srgbClr val="6699CC">
                  <a:alpha val="40000"/>
                </a:srgbClr>
              </a:gs>
              <a:gs pos="100000">
                <a:srgbClr val="FFFFFF"/>
              </a:gs>
            </a:gsLst>
            <a:lin ang="162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sz="1400" dirty="0">
              <a:solidFill>
                <a:prstClr val="black"/>
              </a:solidFill>
            </a:endParaRPr>
          </a:p>
        </p:txBody>
      </p:sp>
      <p:sp>
        <p:nvSpPr>
          <p:cNvPr id="15" name="Rechteck 14"/>
          <p:cNvSpPr/>
          <p:nvPr userDrawn="1"/>
        </p:nvSpPr>
        <p:spPr>
          <a:xfrm>
            <a:off x="0" y="1380790"/>
            <a:ext cx="12192000" cy="3929507"/>
          </a:xfrm>
          <a:prstGeom prst="rect">
            <a:avLst/>
          </a:prstGeom>
          <a:gradFill>
            <a:gsLst>
              <a:gs pos="0">
                <a:srgbClr val="6699CC">
                  <a:alpha val="40000"/>
                </a:srgbClr>
              </a:gs>
              <a:gs pos="100000">
                <a:srgbClr val="FFFFFF"/>
              </a:gs>
            </a:gsLst>
            <a:lin ang="162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sz="1400" dirty="0">
              <a:solidFill>
                <a:prstClr val="black"/>
              </a:solidFill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90101" y="1600203"/>
            <a:ext cx="3912567" cy="3710092"/>
          </a:xfrm>
        </p:spPr>
        <p:txBody>
          <a:bodyPr/>
          <a:lstStyle/>
          <a:p>
            <a:pPr lvl="0"/>
            <a:r>
              <a:rPr lang="en-US" altLang="zh-TW" noProof="0"/>
              <a:t>Click to edit Master text styles</a:t>
            </a:r>
          </a:p>
          <a:p>
            <a:pPr lvl="1"/>
            <a:r>
              <a:rPr lang="en-US" altLang="zh-TW" noProof="0"/>
              <a:t>Second level</a:t>
            </a:r>
          </a:p>
          <a:p>
            <a:pPr lvl="2"/>
            <a:r>
              <a:rPr lang="en-US" altLang="zh-TW" noProof="0"/>
              <a:t>Third level</a:t>
            </a:r>
          </a:p>
          <a:p>
            <a:pPr lvl="3"/>
            <a:r>
              <a:rPr lang="en-US" altLang="zh-TW" noProof="0"/>
              <a:t>Fourth level</a:t>
            </a:r>
          </a:p>
          <a:p>
            <a:pPr lvl="4"/>
            <a:r>
              <a:rPr lang="en-US" altLang="zh-TW" noProof="0"/>
              <a:t>Fifth level</a:t>
            </a:r>
            <a:endParaRPr lang="en-GB" noProof="0" dirty="0"/>
          </a:p>
        </p:txBody>
      </p:sp>
      <p:cxnSp>
        <p:nvCxnSpPr>
          <p:cNvPr id="5" name="Gerade Verbindung 4"/>
          <p:cNvCxnSpPr/>
          <p:nvPr/>
        </p:nvCxnSpPr>
        <p:spPr>
          <a:xfrm>
            <a:off x="0" y="971453"/>
            <a:ext cx="12192000" cy="0"/>
          </a:xfrm>
          <a:prstGeom prst="line">
            <a:avLst/>
          </a:prstGeom>
          <a:ln w="12700">
            <a:solidFill>
              <a:srgbClr val="0033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12"/>
          <p:cNvCxnSpPr/>
          <p:nvPr userDrawn="1"/>
        </p:nvCxnSpPr>
        <p:spPr>
          <a:xfrm>
            <a:off x="0" y="971453"/>
            <a:ext cx="12192000" cy="0"/>
          </a:xfrm>
          <a:prstGeom prst="line">
            <a:avLst/>
          </a:prstGeom>
          <a:ln w="12700">
            <a:solidFill>
              <a:srgbClr val="0033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5924" y="6578970"/>
            <a:ext cx="840360" cy="190511"/>
          </a:xfrm>
          <a:prstGeom prst="rect">
            <a:avLst/>
          </a:prstGeom>
        </p:spPr>
      </p:pic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5750B4-0A56-4E6B-AADC-5777FA1C2983}" type="datetime1">
              <a:rPr lang="en-GB" smtClean="0">
                <a:solidFill>
                  <a:prstClr val="white">
                    <a:lumMod val="50000"/>
                  </a:prstClr>
                </a:solidFill>
              </a:rPr>
              <a:pPr/>
              <a:t>14/12/2021</a:t>
            </a:fld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3B55C4-4F5A-416B-997D-6CE47EB0A945}" type="slidenum">
              <a:rPr lang="en-GB" smtClean="0">
                <a:solidFill>
                  <a:prstClr val="white">
                    <a:lumMod val="50000"/>
                  </a:prstClr>
                </a:solidFill>
              </a:rPr>
              <a:pPr/>
              <a:t>‹#›</a:t>
            </a:fld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/>
              <a:t>Click to edit Master title styl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994818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lide_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11"/>
          <p:cNvSpPr/>
          <p:nvPr userDrawn="1"/>
        </p:nvSpPr>
        <p:spPr>
          <a:xfrm>
            <a:off x="0" y="2928494"/>
            <a:ext cx="12192000" cy="3929507"/>
          </a:xfrm>
          <a:prstGeom prst="rect">
            <a:avLst/>
          </a:prstGeom>
          <a:gradFill>
            <a:gsLst>
              <a:gs pos="0">
                <a:srgbClr val="6699CC">
                  <a:alpha val="40000"/>
                </a:srgbClr>
              </a:gs>
              <a:gs pos="100000">
                <a:srgbClr val="FFFFFF"/>
              </a:gs>
            </a:gsLst>
            <a:lin ang="162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sz="1400" dirty="0">
              <a:solidFill>
                <a:prstClr val="black"/>
              </a:solidFill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2362106" y="1935251"/>
            <a:ext cx="6754212" cy="1231106"/>
          </a:xfrm>
        </p:spPr>
        <p:txBody>
          <a:bodyPr>
            <a:sp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altLang="zh-TW" noProof="0"/>
              <a:t>Click to edit Master text styles</a:t>
            </a:r>
          </a:p>
          <a:p>
            <a:pPr lvl="1"/>
            <a:r>
              <a:rPr lang="en-US" altLang="zh-TW" noProof="0"/>
              <a:t>Second level</a:t>
            </a:r>
          </a:p>
          <a:p>
            <a:pPr lvl="2"/>
            <a:r>
              <a:rPr lang="en-US" altLang="zh-TW" noProof="0"/>
              <a:t>Third level</a:t>
            </a:r>
          </a:p>
          <a:p>
            <a:pPr lvl="3"/>
            <a:r>
              <a:rPr lang="en-US" altLang="zh-TW" noProof="0"/>
              <a:t>Fourth level</a:t>
            </a:r>
          </a:p>
          <a:p>
            <a:pPr lvl="4"/>
            <a:r>
              <a:rPr lang="en-US" altLang="zh-TW" noProof="0"/>
              <a:t>Fifth level</a:t>
            </a:r>
            <a:endParaRPr lang="en-GB" noProof="0" dirty="0"/>
          </a:p>
        </p:txBody>
      </p:sp>
      <p:sp>
        <p:nvSpPr>
          <p:cNvPr id="15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-226475" y="1038415"/>
            <a:ext cx="2318400" cy="1738800"/>
          </a:xfrm>
          <a:prstGeom prst="ellipse">
            <a:avLst/>
          </a:prstGeom>
          <a:solidFill>
            <a:srgbClr val="6699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>
            <a:lvl1pPr marL="0" indent="0" algn="ctr">
              <a:buNone/>
              <a:defRPr lang="en-US" sz="2000" dirty="0" smtClean="0">
                <a:solidFill>
                  <a:schemeClr val="bg1"/>
                </a:solidFill>
                <a:latin typeface="+mj-lt"/>
              </a:defRPr>
            </a:lvl1pPr>
          </a:lstStyle>
          <a:p>
            <a:pPr marL="0" lvl="0" algn="ctr"/>
            <a:r>
              <a:rPr lang="en-GB" noProof="0" dirty="0"/>
              <a:t>Add. info [font size variable]</a:t>
            </a:r>
          </a:p>
        </p:txBody>
      </p:sp>
      <p:cxnSp>
        <p:nvCxnSpPr>
          <p:cNvPr id="6" name="Gerade Verbindung 5"/>
          <p:cNvCxnSpPr/>
          <p:nvPr/>
        </p:nvCxnSpPr>
        <p:spPr>
          <a:xfrm>
            <a:off x="0" y="1691647"/>
            <a:ext cx="12192000" cy="0"/>
          </a:xfrm>
          <a:prstGeom prst="line">
            <a:avLst/>
          </a:prstGeom>
          <a:ln w="12700">
            <a:solidFill>
              <a:srgbClr val="FF99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10"/>
          <p:cNvCxnSpPr/>
          <p:nvPr userDrawn="1"/>
        </p:nvCxnSpPr>
        <p:spPr>
          <a:xfrm>
            <a:off x="0" y="1691647"/>
            <a:ext cx="12192000" cy="0"/>
          </a:xfrm>
          <a:prstGeom prst="line">
            <a:avLst/>
          </a:prstGeom>
          <a:ln w="12700">
            <a:solidFill>
              <a:srgbClr val="FF99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5924" y="6578970"/>
            <a:ext cx="840360" cy="190511"/>
          </a:xfrm>
          <a:prstGeom prst="rect">
            <a:avLst/>
          </a:prstGeom>
        </p:spPr>
      </p:pic>
      <p:sp>
        <p:nvSpPr>
          <p:cNvPr id="4" name="Datumsplatzhalter 3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296EA654-ECD7-471A-8536-99948A30C4BB}" type="datetime1">
              <a:rPr lang="en-GB" smtClean="0">
                <a:solidFill>
                  <a:prstClr val="white">
                    <a:lumMod val="50000"/>
                  </a:prstClr>
                </a:solidFill>
              </a:rPr>
              <a:pPr/>
              <a:t>14/12/2021</a:t>
            </a:fld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143B55C4-4F5A-416B-997D-6CE47EB0A945}" type="slidenum">
              <a:rPr lang="en-GB" smtClean="0">
                <a:solidFill>
                  <a:prstClr val="white">
                    <a:lumMod val="50000"/>
                  </a:prstClr>
                </a:solidFill>
              </a:rPr>
              <a:pPr/>
              <a:t>‹#›</a:t>
            </a:fld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2362102" y="756761"/>
            <a:ext cx="6754213" cy="369332"/>
          </a:xfrm>
        </p:spPr>
        <p:txBody>
          <a:bodyPr/>
          <a:lstStyle/>
          <a:p>
            <a:r>
              <a:rPr lang="en-US" altLang="zh-TW"/>
              <a:t>Click to edit Master title sty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619045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rganisational chart_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/>
          <p:cNvSpPr/>
          <p:nvPr userDrawn="1"/>
        </p:nvSpPr>
        <p:spPr>
          <a:xfrm>
            <a:off x="0" y="2928494"/>
            <a:ext cx="12192000" cy="3929507"/>
          </a:xfrm>
          <a:prstGeom prst="rect">
            <a:avLst/>
          </a:prstGeom>
          <a:gradFill>
            <a:gsLst>
              <a:gs pos="0">
                <a:srgbClr val="6699CC">
                  <a:alpha val="40000"/>
                </a:srgbClr>
              </a:gs>
              <a:gs pos="100000">
                <a:srgbClr val="FFFFFF"/>
              </a:gs>
            </a:gsLst>
            <a:lin ang="162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sz="1400" dirty="0">
              <a:solidFill>
                <a:prstClr val="black"/>
              </a:solidFill>
            </a:endParaRPr>
          </a:p>
        </p:txBody>
      </p:sp>
      <p:cxnSp>
        <p:nvCxnSpPr>
          <p:cNvPr id="5" name="Gerade Verbindung 4"/>
          <p:cNvCxnSpPr/>
          <p:nvPr/>
        </p:nvCxnSpPr>
        <p:spPr>
          <a:xfrm>
            <a:off x="0" y="2492389"/>
            <a:ext cx="12192000" cy="0"/>
          </a:xfrm>
          <a:prstGeom prst="line">
            <a:avLst/>
          </a:prstGeom>
          <a:ln w="12700">
            <a:solidFill>
              <a:srgbClr val="6699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Gerade Verbindung 9"/>
          <p:cNvCxnSpPr/>
          <p:nvPr userDrawn="1"/>
        </p:nvCxnSpPr>
        <p:spPr>
          <a:xfrm>
            <a:off x="0" y="2492389"/>
            <a:ext cx="12192000" cy="0"/>
          </a:xfrm>
          <a:prstGeom prst="line">
            <a:avLst/>
          </a:prstGeom>
          <a:ln w="12700">
            <a:solidFill>
              <a:srgbClr val="6699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5924" y="6578970"/>
            <a:ext cx="840360" cy="190511"/>
          </a:xfrm>
          <a:prstGeom prst="rect">
            <a:avLst/>
          </a:prstGeom>
        </p:spPr>
      </p:pic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D98D82-2CA0-4C64-8F52-ED1E564820AE}" type="datetime1">
              <a:rPr lang="en-GB" smtClean="0">
                <a:solidFill>
                  <a:prstClr val="white">
                    <a:lumMod val="50000"/>
                  </a:prstClr>
                </a:solidFill>
              </a:rPr>
              <a:pPr/>
              <a:t>14/12/2021</a:t>
            </a:fld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3B55C4-4F5A-416B-997D-6CE47EB0A945}" type="slidenum">
              <a:rPr lang="en-GB" smtClean="0">
                <a:solidFill>
                  <a:prstClr val="white">
                    <a:lumMod val="50000"/>
                  </a:prstClr>
                </a:solidFill>
              </a:rPr>
              <a:pPr/>
              <a:t>‹#›</a:t>
            </a:fld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/>
              <a:t>Click to edit Master title styl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913383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-al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 userDrawn="1"/>
        </p:nvSpPr>
        <p:spPr>
          <a:xfrm>
            <a:off x="0" y="2928494"/>
            <a:ext cx="12192000" cy="3929507"/>
          </a:xfrm>
          <a:prstGeom prst="rect">
            <a:avLst/>
          </a:prstGeom>
          <a:gradFill>
            <a:gsLst>
              <a:gs pos="0">
                <a:srgbClr val="6699CC">
                  <a:alpha val="40000"/>
                </a:srgbClr>
              </a:gs>
              <a:gs pos="100000">
                <a:srgbClr val="FFFFFF"/>
              </a:gs>
            </a:gsLst>
            <a:lin ang="162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sz="1400" dirty="0">
              <a:solidFill>
                <a:prstClr val="black"/>
              </a:solidFill>
            </a:endParaRP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C471A6-68F5-46F4-AB55-274B9534F60C}" type="datetime1">
              <a:rPr lang="en-GB" smtClean="0">
                <a:solidFill>
                  <a:prstClr val="white">
                    <a:lumMod val="50000"/>
                  </a:prstClr>
                </a:solidFill>
              </a:rPr>
              <a:pPr/>
              <a:t>14/12/2021</a:t>
            </a:fld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3B55C4-4F5A-416B-997D-6CE47EB0A945}" type="slidenum">
              <a:rPr lang="en-GB" smtClean="0">
                <a:solidFill>
                  <a:prstClr val="white">
                    <a:lumMod val="50000"/>
                  </a:prstClr>
                </a:solidFill>
              </a:rPr>
              <a:pPr/>
              <a:t>‹#›</a:t>
            </a:fld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cxnSp>
        <p:nvCxnSpPr>
          <p:cNvPr id="7" name="Gerade Verbindung 6"/>
          <p:cNvCxnSpPr/>
          <p:nvPr userDrawn="1"/>
        </p:nvCxnSpPr>
        <p:spPr>
          <a:xfrm>
            <a:off x="0" y="971453"/>
            <a:ext cx="12192000" cy="0"/>
          </a:xfrm>
          <a:prstGeom prst="line">
            <a:avLst/>
          </a:prstGeom>
          <a:ln w="12700">
            <a:solidFill>
              <a:srgbClr val="0033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223825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36pt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90100" y="104583"/>
            <a:ext cx="11211800" cy="553998"/>
          </a:xfrm>
        </p:spPr>
        <p:txBody>
          <a:bodyPr/>
          <a:lstStyle>
            <a:lvl1pPr>
              <a:defRPr sz="3600">
                <a:solidFill>
                  <a:srgbClr val="003366"/>
                </a:solidFill>
              </a:defRPr>
            </a:lvl1pPr>
          </a:lstStyle>
          <a:p>
            <a:r>
              <a:rPr lang="en-US" altLang="zh-TW" noProof="0"/>
              <a:t>Click to edit Master title style</a:t>
            </a:r>
            <a:endParaRPr lang="en-GB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altLang="zh-TW" noProof="0"/>
              <a:t>Click to edit Master text styles</a:t>
            </a:r>
          </a:p>
          <a:p>
            <a:pPr lvl="1"/>
            <a:r>
              <a:rPr lang="en-US" altLang="zh-TW" noProof="0"/>
              <a:t>Second level</a:t>
            </a:r>
          </a:p>
          <a:p>
            <a:pPr lvl="2"/>
            <a:r>
              <a:rPr lang="en-US" altLang="zh-TW" noProof="0"/>
              <a:t>Third level</a:t>
            </a:r>
          </a:p>
          <a:p>
            <a:pPr lvl="3"/>
            <a:r>
              <a:rPr lang="en-US" altLang="zh-TW" noProof="0"/>
              <a:t>Fourth level</a:t>
            </a:r>
          </a:p>
          <a:p>
            <a:pPr lvl="4"/>
            <a:r>
              <a:rPr lang="en-US" altLang="zh-TW" noProof="0"/>
              <a:t>Fifth level</a:t>
            </a:r>
            <a:endParaRPr lang="en-GB" noProof="0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F327B5-4F46-4E52-AD59-88A207270947}" type="datetime1">
              <a:rPr lang="en-GB" smtClean="0">
                <a:solidFill>
                  <a:prstClr val="white">
                    <a:lumMod val="50000"/>
                  </a:prstClr>
                </a:solidFill>
              </a:rPr>
              <a:pPr/>
              <a:t>14/12/2021</a:t>
            </a:fld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3B55C4-4F5A-416B-997D-6CE47EB0A945}" type="slidenum">
              <a:rPr lang="en-GB" smtClean="0">
                <a:solidFill>
                  <a:prstClr val="white">
                    <a:lumMod val="50000"/>
                  </a:prstClr>
                </a:solidFill>
              </a:rPr>
              <a:pPr/>
              <a:t>‹#›</a:t>
            </a:fld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cxnSp>
        <p:nvCxnSpPr>
          <p:cNvPr id="7" name="Gerade Verbindung 6"/>
          <p:cNvCxnSpPr/>
          <p:nvPr userDrawn="1"/>
        </p:nvCxnSpPr>
        <p:spPr>
          <a:xfrm>
            <a:off x="0" y="971453"/>
            <a:ext cx="12192000" cy="0"/>
          </a:xfrm>
          <a:prstGeom prst="line">
            <a:avLst/>
          </a:prstGeom>
          <a:ln w="12700">
            <a:solidFill>
              <a:srgbClr val="0033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140656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theme" Target="../theme/theme1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2.xml"/><Relationship Id="rId3" Type="http://schemas.openxmlformats.org/officeDocument/2006/relationships/slideLayout" Target="../slideLayouts/slideLayout107.xml"/><Relationship Id="rId7" Type="http://schemas.openxmlformats.org/officeDocument/2006/relationships/slideLayout" Target="../slideLayouts/slideLayout111.xml"/><Relationship Id="rId2" Type="http://schemas.openxmlformats.org/officeDocument/2006/relationships/slideLayout" Target="../slideLayouts/slideLayout106.xml"/><Relationship Id="rId1" Type="http://schemas.openxmlformats.org/officeDocument/2006/relationships/slideLayout" Target="../slideLayouts/slideLayout105.xml"/><Relationship Id="rId6" Type="http://schemas.openxmlformats.org/officeDocument/2006/relationships/slideLayout" Target="../slideLayouts/slideLayout110.xml"/><Relationship Id="rId5" Type="http://schemas.openxmlformats.org/officeDocument/2006/relationships/slideLayout" Target="../slideLayouts/slideLayout109.xml"/><Relationship Id="rId10" Type="http://schemas.openxmlformats.org/officeDocument/2006/relationships/image" Target="../media/image13.png"/><Relationship Id="rId4" Type="http://schemas.openxmlformats.org/officeDocument/2006/relationships/slideLayout" Target="../slideLayouts/slideLayout108.xml"/><Relationship Id="rId9" Type="http://schemas.openxmlformats.org/officeDocument/2006/relationships/theme" Target="../theme/theme10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1.xml"/><Relationship Id="rId13" Type="http://schemas.openxmlformats.org/officeDocument/2006/relationships/image" Target="../media/image5.png"/><Relationship Id="rId3" Type="http://schemas.openxmlformats.org/officeDocument/2006/relationships/slideLayout" Target="../slideLayouts/slideLayout115.xml"/><Relationship Id="rId7" Type="http://schemas.openxmlformats.org/officeDocument/2006/relationships/slideLayout" Target="../slideLayouts/slideLayout119.xml"/><Relationship Id="rId12" Type="http://schemas.openxmlformats.org/officeDocument/2006/relationships/image" Target="../media/image14.emf"/><Relationship Id="rId2" Type="http://schemas.openxmlformats.org/officeDocument/2006/relationships/slideLayout" Target="../slideLayouts/slideLayout114.xml"/><Relationship Id="rId1" Type="http://schemas.openxmlformats.org/officeDocument/2006/relationships/slideLayout" Target="../slideLayouts/slideLayout113.xml"/><Relationship Id="rId6" Type="http://schemas.openxmlformats.org/officeDocument/2006/relationships/slideLayout" Target="../slideLayouts/slideLayout118.xml"/><Relationship Id="rId11" Type="http://schemas.openxmlformats.org/officeDocument/2006/relationships/oleObject" Target="../embeddings/oleObject5.bin"/><Relationship Id="rId5" Type="http://schemas.openxmlformats.org/officeDocument/2006/relationships/slideLayout" Target="../slideLayouts/slideLayout117.xml"/><Relationship Id="rId10" Type="http://schemas.openxmlformats.org/officeDocument/2006/relationships/tags" Target="../tags/tag18.xml"/><Relationship Id="rId4" Type="http://schemas.openxmlformats.org/officeDocument/2006/relationships/slideLayout" Target="../slideLayouts/slideLayout116.xml"/><Relationship Id="rId9" Type="http://schemas.openxmlformats.org/officeDocument/2006/relationships/tags" Target="../tags/tag17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7.xml"/><Relationship Id="rId13" Type="http://schemas.openxmlformats.org/officeDocument/2006/relationships/slideLayout" Target="../slideLayouts/slideLayout132.xml"/><Relationship Id="rId18" Type="http://schemas.openxmlformats.org/officeDocument/2006/relationships/slideLayout" Target="../slideLayouts/slideLayout137.xml"/><Relationship Id="rId26" Type="http://schemas.openxmlformats.org/officeDocument/2006/relationships/slideLayout" Target="../slideLayouts/slideLayout145.xml"/><Relationship Id="rId3" Type="http://schemas.openxmlformats.org/officeDocument/2006/relationships/slideLayout" Target="../slideLayouts/slideLayout122.xml"/><Relationship Id="rId21" Type="http://schemas.openxmlformats.org/officeDocument/2006/relationships/slideLayout" Target="../slideLayouts/slideLayout140.xml"/><Relationship Id="rId7" Type="http://schemas.openxmlformats.org/officeDocument/2006/relationships/slideLayout" Target="../slideLayouts/slideLayout126.xml"/><Relationship Id="rId12" Type="http://schemas.openxmlformats.org/officeDocument/2006/relationships/slideLayout" Target="../slideLayouts/slideLayout131.xml"/><Relationship Id="rId17" Type="http://schemas.openxmlformats.org/officeDocument/2006/relationships/slideLayout" Target="../slideLayouts/slideLayout136.xml"/><Relationship Id="rId25" Type="http://schemas.openxmlformats.org/officeDocument/2006/relationships/slideLayout" Target="../slideLayouts/slideLayout144.xml"/><Relationship Id="rId2" Type="http://schemas.openxmlformats.org/officeDocument/2006/relationships/slideLayout" Target="../slideLayouts/slideLayout121.xml"/><Relationship Id="rId16" Type="http://schemas.openxmlformats.org/officeDocument/2006/relationships/slideLayout" Target="../slideLayouts/slideLayout135.xml"/><Relationship Id="rId20" Type="http://schemas.openxmlformats.org/officeDocument/2006/relationships/slideLayout" Target="../slideLayouts/slideLayout139.xml"/><Relationship Id="rId29" Type="http://schemas.openxmlformats.org/officeDocument/2006/relationships/theme" Target="../theme/theme12.xml"/><Relationship Id="rId1" Type="http://schemas.openxmlformats.org/officeDocument/2006/relationships/slideLayout" Target="../slideLayouts/slideLayout120.xml"/><Relationship Id="rId6" Type="http://schemas.openxmlformats.org/officeDocument/2006/relationships/slideLayout" Target="../slideLayouts/slideLayout125.xml"/><Relationship Id="rId11" Type="http://schemas.openxmlformats.org/officeDocument/2006/relationships/slideLayout" Target="../slideLayouts/slideLayout130.xml"/><Relationship Id="rId24" Type="http://schemas.openxmlformats.org/officeDocument/2006/relationships/slideLayout" Target="../slideLayouts/slideLayout143.xml"/><Relationship Id="rId5" Type="http://schemas.openxmlformats.org/officeDocument/2006/relationships/slideLayout" Target="../slideLayouts/slideLayout124.xml"/><Relationship Id="rId15" Type="http://schemas.openxmlformats.org/officeDocument/2006/relationships/slideLayout" Target="../slideLayouts/slideLayout134.xml"/><Relationship Id="rId23" Type="http://schemas.openxmlformats.org/officeDocument/2006/relationships/slideLayout" Target="../slideLayouts/slideLayout142.xml"/><Relationship Id="rId28" Type="http://schemas.openxmlformats.org/officeDocument/2006/relationships/slideLayout" Target="../slideLayouts/slideLayout147.xml"/><Relationship Id="rId10" Type="http://schemas.openxmlformats.org/officeDocument/2006/relationships/slideLayout" Target="../slideLayouts/slideLayout129.xml"/><Relationship Id="rId19" Type="http://schemas.openxmlformats.org/officeDocument/2006/relationships/slideLayout" Target="../slideLayouts/slideLayout138.xml"/><Relationship Id="rId4" Type="http://schemas.openxmlformats.org/officeDocument/2006/relationships/slideLayout" Target="../slideLayouts/slideLayout123.xml"/><Relationship Id="rId9" Type="http://schemas.openxmlformats.org/officeDocument/2006/relationships/slideLayout" Target="../slideLayouts/slideLayout128.xml"/><Relationship Id="rId14" Type="http://schemas.openxmlformats.org/officeDocument/2006/relationships/slideLayout" Target="../slideLayouts/slideLayout133.xml"/><Relationship Id="rId22" Type="http://schemas.openxmlformats.org/officeDocument/2006/relationships/slideLayout" Target="../slideLayouts/slideLayout141.xml"/><Relationship Id="rId27" Type="http://schemas.openxmlformats.org/officeDocument/2006/relationships/slideLayout" Target="../slideLayouts/slideLayout146.xml"/><Relationship Id="rId30" Type="http://schemas.openxmlformats.org/officeDocument/2006/relationships/image" Target="../media/image18.png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theme" Target="../theme/theme13.xml"/><Relationship Id="rId13" Type="http://schemas.openxmlformats.org/officeDocument/2006/relationships/image" Target="../media/image5.png"/><Relationship Id="rId3" Type="http://schemas.openxmlformats.org/officeDocument/2006/relationships/slideLayout" Target="../slideLayouts/slideLayout150.xml"/><Relationship Id="rId7" Type="http://schemas.openxmlformats.org/officeDocument/2006/relationships/slideLayout" Target="../slideLayouts/slideLayout154.xml"/><Relationship Id="rId12" Type="http://schemas.openxmlformats.org/officeDocument/2006/relationships/image" Target="../media/image14.emf"/><Relationship Id="rId2" Type="http://schemas.openxmlformats.org/officeDocument/2006/relationships/slideLayout" Target="../slideLayouts/slideLayout149.xml"/><Relationship Id="rId1" Type="http://schemas.openxmlformats.org/officeDocument/2006/relationships/slideLayout" Target="../slideLayouts/slideLayout148.xml"/><Relationship Id="rId6" Type="http://schemas.openxmlformats.org/officeDocument/2006/relationships/slideLayout" Target="../slideLayouts/slideLayout153.xml"/><Relationship Id="rId11" Type="http://schemas.openxmlformats.org/officeDocument/2006/relationships/oleObject" Target="../embeddings/oleObject8.bin"/><Relationship Id="rId5" Type="http://schemas.openxmlformats.org/officeDocument/2006/relationships/slideLayout" Target="../slideLayouts/slideLayout152.xml"/><Relationship Id="rId10" Type="http://schemas.openxmlformats.org/officeDocument/2006/relationships/tags" Target="../tags/tag22.xml"/><Relationship Id="rId4" Type="http://schemas.openxmlformats.org/officeDocument/2006/relationships/slideLayout" Target="../slideLayouts/slideLayout151.xml"/><Relationship Id="rId9" Type="http://schemas.openxmlformats.org/officeDocument/2006/relationships/tags" Target="../tags/tag21.xml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theme" Target="../theme/theme14.xml"/><Relationship Id="rId13" Type="http://schemas.openxmlformats.org/officeDocument/2006/relationships/image" Target="../media/image5.png"/><Relationship Id="rId3" Type="http://schemas.openxmlformats.org/officeDocument/2006/relationships/slideLayout" Target="../slideLayouts/slideLayout157.xml"/><Relationship Id="rId7" Type="http://schemas.openxmlformats.org/officeDocument/2006/relationships/slideLayout" Target="../slideLayouts/slideLayout161.xml"/><Relationship Id="rId12" Type="http://schemas.openxmlformats.org/officeDocument/2006/relationships/image" Target="../media/image14.emf"/><Relationship Id="rId2" Type="http://schemas.openxmlformats.org/officeDocument/2006/relationships/slideLayout" Target="../slideLayouts/slideLayout156.xml"/><Relationship Id="rId1" Type="http://schemas.openxmlformats.org/officeDocument/2006/relationships/slideLayout" Target="../slideLayouts/slideLayout155.xml"/><Relationship Id="rId6" Type="http://schemas.openxmlformats.org/officeDocument/2006/relationships/slideLayout" Target="../slideLayouts/slideLayout160.xml"/><Relationship Id="rId11" Type="http://schemas.openxmlformats.org/officeDocument/2006/relationships/oleObject" Target="../embeddings/oleObject11.bin"/><Relationship Id="rId5" Type="http://schemas.openxmlformats.org/officeDocument/2006/relationships/slideLayout" Target="../slideLayouts/slideLayout159.xml"/><Relationship Id="rId10" Type="http://schemas.openxmlformats.org/officeDocument/2006/relationships/tags" Target="../tags/tag26.xml"/><Relationship Id="rId4" Type="http://schemas.openxmlformats.org/officeDocument/2006/relationships/slideLayout" Target="../slideLayouts/slideLayout158.xml"/><Relationship Id="rId9" Type="http://schemas.openxmlformats.org/officeDocument/2006/relationships/tags" Target="../tags/tag25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.png"/><Relationship Id="rId5" Type="http://schemas.openxmlformats.org/officeDocument/2006/relationships/theme" Target="../theme/theme2.xml"/><Relationship Id="rId4" Type="http://schemas.openxmlformats.org/officeDocument/2006/relationships/slideLayout" Target="../slideLayouts/slideLayout4.xml"/></Relationships>
</file>

<file path=ppt/slideMasters/_rels/slideMaster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1.png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Relationship Id="rId6" Type="http://schemas.openxmlformats.org/officeDocument/2006/relationships/theme" Target="../theme/theme4.xml"/><Relationship Id="rId5" Type="http://schemas.openxmlformats.org/officeDocument/2006/relationships/slideLayout" Target="../slideLayouts/slideLayout9.xml"/><Relationship Id="rId4" Type="http://schemas.openxmlformats.org/officeDocument/2006/relationships/slideLayout" Target="../slideLayouts/slideLayout8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.xml"/><Relationship Id="rId13" Type="http://schemas.openxmlformats.org/officeDocument/2006/relationships/slideLayout" Target="../slideLayouts/slideLayout22.xml"/><Relationship Id="rId18" Type="http://schemas.openxmlformats.org/officeDocument/2006/relationships/slideLayout" Target="../slideLayouts/slideLayout27.xml"/><Relationship Id="rId3" Type="http://schemas.openxmlformats.org/officeDocument/2006/relationships/slideLayout" Target="../slideLayouts/slideLayout12.xml"/><Relationship Id="rId7" Type="http://schemas.openxmlformats.org/officeDocument/2006/relationships/slideLayout" Target="../slideLayouts/slideLayout16.xml"/><Relationship Id="rId12" Type="http://schemas.openxmlformats.org/officeDocument/2006/relationships/slideLayout" Target="../slideLayouts/slideLayout21.xml"/><Relationship Id="rId17" Type="http://schemas.openxmlformats.org/officeDocument/2006/relationships/slideLayout" Target="../slideLayouts/slideLayout26.xml"/><Relationship Id="rId2" Type="http://schemas.openxmlformats.org/officeDocument/2006/relationships/slideLayout" Target="../slideLayouts/slideLayout11.xml"/><Relationship Id="rId16" Type="http://schemas.openxmlformats.org/officeDocument/2006/relationships/slideLayout" Target="../slideLayouts/slideLayout25.xml"/><Relationship Id="rId20" Type="http://schemas.openxmlformats.org/officeDocument/2006/relationships/image" Target="../media/image5.png"/><Relationship Id="rId1" Type="http://schemas.openxmlformats.org/officeDocument/2006/relationships/slideLayout" Target="../slideLayouts/slideLayout10.xml"/><Relationship Id="rId6" Type="http://schemas.openxmlformats.org/officeDocument/2006/relationships/slideLayout" Target="../slideLayouts/slideLayout15.xml"/><Relationship Id="rId11" Type="http://schemas.openxmlformats.org/officeDocument/2006/relationships/slideLayout" Target="../slideLayouts/slideLayout20.xml"/><Relationship Id="rId5" Type="http://schemas.openxmlformats.org/officeDocument/2006/relationships/slideLayout" Target="../slideLayouts/slideLayout14.xml"/><Relationship Id="rId15" Type="http://schemas.openxmlformats.org/officeDocument/2006/relationships/slideLayout" Target="../slideLayouts/slideLayout24.xml"/><Relationship Id="rId10" Type="http://schemas.openxmlformats.org/officeDocument/2006/relationships/slideLayout" Target="../slideLayouts/slideLayout19.xml"/><Relationship Id="rId19" Type="http://schemas.openxmlformats.org/officeDocument/2006/relationships/theme" Target="../theme/theme5.xml"/><Relationship Id="rId4" Type="http://schemas.openxmlformats.org/officeDocument/2006/relationships/slideLayout" Target="../slideLayouts/slideLayout13.xml"/><Relationship Id="rId9" Type="http://schemas.openxmlformats.org/officeDocument/2006/relationships/slideLayout" Target="../slideLayouts/slideLayout18.xml"/><Relationship Id="rId14" Type="http://schemas.openxmlformats.org/officeDocument/2006/relationships/slideLayout" Target="../slideLayouts/slideLayout23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5.xml"/><Relationship Id="rId13" Type="http://schemas.openxmlformats.org/officeDocument/2006/relationships/slideLayout" Target="../slideLayouts/slideLayout40.xml"/><Relationship Id="rId18" Type="http://schemas.openxmlformats.org/officeDocument/2006/relationships/slideLayout" Target="../slideLayouts/slideLayout45.xml"/><Relationship Id="rId3" Type="http://schemas.openxmlformats.org/officeDocument/2006/relationships/slideLayout" Target="../slideLayouts/slideLayout30.xml"/><Relationship Id="rId7" Type="http://schemas.openxmlformats.org/officeDocument/2006/relationships/slideLayout" Target="../slideLayouts/slideLayout34.xml"/><Relationship Id="rId12" Type="http://schemas.openxmlformats.org/officeDocument/2006/relationships/slideLayout" Target="../slideLayouts/slideLayout39.xml"/><Relationship Id="rId17" Type="http://schemas.openxmlformats.org/officeDocument/2006/relationships/slideLayout" Target="../slideLayouts/slideLayout44.xml"/><Relationship Id="rId2" Type="http://schemas.openxmlformats.org/officeDocument/2006/relationships/slideLayout" Target="../slideLayouts/slideLayout29.xml"/><Relationship Id="rId16" Type="http://schemas.openxmlformats.org/officeDocument/2006/relationships/slideLayout" Target="../slideLayouts/slideLayout43.xml"/><Relationship Id="rId20" Type="http://schemas.openxmlformats.org/officeDocument/2006/relationships/image" Target="../media/image5.png"/><Relationship Id="rId1" Type="http://schemas.openxmlformats.org/officeDocument/2006/relationships/slideLayout" Target="../slideLayouts/slideLayout28.xml"/><Relationship Id="rId6" Type="http://schemas.openxmlformats.org/officeDocument/2006/relationships/slideLayout" Target="../slideLayouts/slideLayout33.xml"/><Relationship Id="rId11" Type="http://schemas.openxmlformats.org/officeDocument/2006/relationships/slideLayout" Target="../slideLayouts/slideLayout38.xml"/><Relationship Id="rId5" Type="http://schemas.openxmlformats.org/officeDocument/2006/relationships/slideLayout" Target="../slideLayouts/slideLayout32.xml"/><Relationship Id="rId15" Type="http://schemas.openxmlformats.org/officeDocument/2006/relationships/slideLayout" Target="../slideLayouts/slideLayout42.xml"/><Relationship Id="rId10" Type="http://schemas.openxmlformats.org/officeDocument/2006/relationships/slideLayout" Target="../slideLayouts/slideLayout37.xml"/><Relationship Id="rId19" Type="http://schemas.openxmlformats.org/officeDocument/2006/relationships/theme" Target="../theme/theme6.xml"/><Relationship Id="rId4" Type="http://schemas.openxmlformats.org/officeDocument/2006/relationships/slideLayout" Target="../slideLayouts/slideLayout31.xml"/><Relationship Id="rId9" Type="http://schemas.openxmlformats.org/officeDocument/2006/relationships/slideLayout" Target="../slideLayouts/slideLayout36.xml"/><Relationship Id="rId14" Type="http://schemas.openxmlformats.org/officeDocument/2006/relationships/slideLayout" Target="../slideLayouts/slideLayout41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3.xml"/><Relationship Id="rId13" Type="http://schemas.openxmlformats.org/officeDocument/2006/relationships/slideLayout" Target="../slideLayouts/slideLayout58.xml"/><Relationship Id="rId18" Type="http://schemas.openxmlformats.org/officeDocument/2006/relationships/slideLayout" Target="../slideLayouts/slideLayout63.xml"/><Relationship Id="rId3" Type="http://schemas.openxmlformats.org/officeDocument/2006/relationships/slideLayout" Target="../slideLayouts/slideLayout48.xml"/><Relationship Id="rId21" Type="http://schemas.openxmlformats.org/officeDocument/2006/relationships/slideLayout" Target="../slideLayouts/slideLayout66.xml"/><Relationship Id="rId7" Type="http://schemas.openxmlformats.org/officeDocument/2006/relationships/slideLayout" Target="../slideLayouts/slideLayout52.xml"/><Relationship Id="rId12" Type="http://schemas.openxmlformats.org/officeDocument/2006/relationships/slideLayout" Target="../slideLayouts/slideLayout57.xml"/><Relationship Id="rId17" Type="http://schemas.openxmlformats.org/officeDocument/2006/relationships/slideLayout" Target="../slideLayouts/slideLayout62.xml"/><Relationship Id="rId2" Type="http://schemas.openxmlformats.org/officeDocument/2006/relationships/slideLayout" Target="../slideLayouts/slideLayout47.xml"/><Relationship Id="rId16" Type="http://schemas.openxmlformats.org/officeDocument/2006/relationships/slideLayout" Target="../slideLayouts/slideLayout61.xml"/><Relationship Id="rId20" Type="http://schemas.openxmlformats.org/officeDocument/2006/relationships/slideLayout" Target="../slideLayouts/slideLayout65.xml"/><Relationship Id="rId1" Type="http://schemas.openxmlformats.org/officeDocument/2006/relationships/slideLayout" Target="../slideLayouts/slideLayout46.xml"/><Relationship Id="rId6" Type="http://schemas.openxmlformats.org/officeDocument/2006/relationships/slideLayout" Target="../slideLayouts/slideLayout51.xml"/><Relationship Id="rId11" Type="http://schemas.openxmlformats.org/officeDocument/2006/relationships/slideLayout" Target="../slideLayouts/slideLayout56.xml"/><Relationship Id="rId24" Type="http://schemas.openxmlformats.org/officeDocument/2006/relationships/image" Target="../media/image5.png"/><Relationship Id="rId5" Type="http://schemas.openxmlformats.org/officeDocument/2006/relationships/slideLayout" Target="../slideLayouts/slideLayout50.xml"/><Relationship Id="rId15" Type="http://schemas.openxmlformats.org/officeDocument/2006/relationships/slideLayout" Target="../slideLayouts/slideLayout60.xml"/><Relationship Id="rId23" Type="http://schemas.openxmlformats.org/officeDocument/2006/relationships/theme" Target="../theme/theme7.xml"/><Relationship Id="rId10" Type="http://schemas.openxmlformats.org/officeDocument/2006/relationships/slideLayout" Target="../slideLayouts/slideLayout55.xml"/><Relationship Id="rId19" Type="http://schemas.openxmlformats.org/officeDocument/2006/relationships/slideLayout" Target="../slideLayouts/slideLayout64.xml"/><Relationship Id="rId4" Type="http://schemas.openxmlformats.org/officeDocument/2006/relationships/slideLayout" Target="../slideLayouts/slideLayout49.xml"/><Relationship Id="rId9" Type="http://schemas.openxmlformats.org/officeDocument/2006/relationships/slideLayout" Target="../slideLayouts/slideLayout54.xml"/><Relationship Id="rId14" Type="http://schemas.openxmlformats.org/officeDocument/2006/relationships/slideLayout" Target="../slideLayouts/slideLayout59.xml"/><Relationship Id="rId22" Type="http://schemas.openxmlformats.org/officeDocument/2006/relationships/slideLayout" Target="../slideLayouts/slideLayout67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5.xml"/><Relationship Id="rId13" Type="http://schemas.openxmlformats.org/officeDocument/2006/relationships/slideLayout" Target="../slideLayouts/slideLayout80.xml"/><Relationship Id="rId18" Type="http://schemas.openxmlformats.org/officeDocument/2006/relationships/slideLayout" Target="../slideLayouts/slideLayout85.xml"/><Relationship Id="rId3" Type="http://schemas.openxmlformats.org/officeDocument/2006/relationships/slideLayout" Target="../slideLayouts/slideLayout70.xml"/><Relationship Id="rId7" Type="http://schemas.openxmlformats.org/officeDocument/2006/relationships/slideLayout" Target="../slideLayouts/slideLayout74.xml"/><Relationship Id="rId12" Type="http://schemas.openxmlformats.org/officeDocument/2006/relationships/slideLayout" Target="../slideLayouts/slideLayout79.xml"/><Relationship Id="rId17" Type="http://schemas.openxmlformats.org/officeDocument/2006/relationships/slideLayout" Target="../slideLayouts/slideLayout84.xml"/><Relationship Id="rId2" Type="http://schemas.openxmlformats.org/officeDocument/2006/relationships/slideLayout" Target="../slideLayouts/slideLayout69.xml"/><Relationship Id="rId16" Type="http://schemas.openxmlformats.org/officeDocument/2006/relationships/slideLayout" Target="../slideLayouts/slideLayout83.xml"/><Relationship Id="rId20" Type="http://schemas.openxmlformats.org/officeDocument/2006/relationships/image" Target="../media/image10.png"/><Relationship Id="rId1" Type="http://schemas.openxmlformats.org/officeDocument/2006/relationships/slideLayout" Target="../slideLayouts/slideLayout68.xml"/><Relationship Id="rId6" Type="http://schemas.openxmlformats.org/officeDocument/2006/relationships/slideLayout" Target="../slideLayouts/slideLayout73.xml"/><Relationship Id="rId11" Type="http://schemas.openxmlformats.org/officeDocument/2006/relationships/slideLayout" Target="../slideLayouts/slideLayout78.xml"/><Relationship Id="rId5" Type="http://schemas.openxmlformats.org/officeDocument/2006/relationships/slideLayout" Target="../slideLayouts/slideLayout72.xml"/><Relationship Id="rId15" Type="http://schemas.openxmlformats.org/officeDocument/2006/relationships/slideLayout" Target="../slideLayouts/slideLayout82.xml"/><Relationship Id="rId10" Type="http://schemas.openxmlformats.org/officeDocument/2006/relationships/slideLayout" Target="../slideLayouts/slideLayout77.xml"/><Relationship Id="rId19" Type="http://schemas.openxmlformats.org/officeDocument/2006/relationships/theme" Target="../theme/theme8.xml"/><Relationship Id="rId4" Type="http://schemas.openxmlformats.org/officeDocument/2006/relationships/slideLayout" Target="../slideLayouts/slideLayout71.xml"/><Relationship Id="rId9" Type="http://schemas.openxmlformats.org/officeDocument/2006/relationships/slideLayout" Target="../slideLayouts/slideLayout76.xml"/><Relationship Id="rId14" Type="http://schemas.openxmlformats.org/officeDocument/2006/relationships/slideLayout" Target="../slideLayouts/slideLayout81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3.xml"/><Relationship Id="rId13" Type="http://schemas.openxmlformats.org/officeDocument/2006/relationships/slideLayout" Target="../slideLayouts/slideLayout98.xml"/><Relationship Id="rId18" Type="http://schemas.openxmlformats.org/officeDocument/2006/relationships/slideLayout" Target="../slideLayouts/slideLayout103.xml"/><Relationship Id="rId3" Type="http://schemas.openxmlformats.org/officeDocument/2006/relationships/slideLayout" Target="../slideLayouts/slideLayout88.xml"/><Relationship Id="rId21" Type="http://schemas.openxmlformats.org/officeDocument/2006/relationships/image" Target="../media/image5.png"/><Relationship Id="rId7" Type="http://schemas.openxmlformats.org/officeDocument/2006/relationships/slideLayout" Target="../slideLayouts/slideLayout92.xml"/><Relationship Id="rId12" Type="http://schemas.openxmlformats.org/officeDocument/2006/relationships/slideLayout" Target="../slideLayouts/slideLayout97.xml"/><Relationship Id="rId17" Type="http://schemas.openxmlformats.org/officeDocument/2006/relationships/slideLayout" Target="../slideLayouts/slideLayout102.xml"/><Relationship Id="rId2" Type="http://schemas.openxmlformats.org/officeDocument/2006/relationships/slideLayout" Target="../slideLayouts/slideLayout87.xml"/><Relationship Id="rId16" Type="http://schemas.openxmlformats.org/officeDocument/2006/relationships/slideLayout" Target="../slideLayouts/slideLayout101.xml"/><Relationship Id="rId20" Type="http://schemas.openxmlformats.org/officeDocument/2006/relationships/theme" Target="../theme/theme9.xml"/><Relationship Id="rId1" Type="http://schemas.openxmlformats.org/officeDocument/2006/relationships/slideLayout" Target="../slideLayouts/slideLayout86.xml"/><Relationship Id="rId6" Type="http://schemas.openxmlformats.org/officeDocument/2006/relationships/slideLayout" Target="../slideLayouts/slideLayout91.xml"/><Relationship Id="rId11" Type="http://schemas.openxmlformats.org/officeDocument/2006/relationships/slideLayout" Target="../slideLayouts/slideLayout96.xml"/><Relationship Id="rId5" Type="http://schemas.openxmlformats.org/officeDocument/2006/relationships/slideLayout" Target="../slideLayouts/slideLayout90.xml"/><Relationship Id="rId15" Type="http://schemas.openxmlformats.org/officeDocument/2006/relationships/slideLayout" Target="../slideLayouts/slideLayout100.xml"/><Relationship Id="rId10" Type="http://schemas.openxmlformats.org/officeDocument/2006/relationships/slideLayout" Target="../slideLayouts/slideLayout95.xml"/><Relationship Id="rId19" Type="http://schemas.openxmlformats.org/officeDocument/2006/relationships/slideLayout" Target="../slideLayouts/slideLayout104.xml"/><Relationship Id="rId4" Type="http://schemas.openxmlformats.org/officeDocument/2006/relationships/slideLayout" Target="../slideLayouts/slideLayout89.xml"/><Relationship Id="rId9" Type="http://schemas.openxmlformats.org/officeDocument/2006/relationships/slideLayout" Target="../slideLayouts/slideLayout94.xml"/><Relationship Id="rId14" Type="http://schemas.openxmlformats.org/officeDocument/2006/relationships/slideLayout" Target="../slideLayouts/slideLayout9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06" name="Rectangle 2"/>
          <p:cNvSpPr>
            <a:spLocks noChangeArrowheads="1"/>
          </p:cNvSpPr>
          <p:nvPr/>
        </p:nvSpPr>
        <p:spPr bwMode="auto">
          <a:xfrm>
            <a:off x="0" y="2"/>
            <a:ext cx="12192000" cy="989013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altLang="zh-TW" sz="1400" dirty="0">
              <a:solidFill>
                <a:srgbClr val="000000"/>
              </a:solidFill>
              <a:ea typeface="新細明體" charset="-120"/>
              <a:cs typeface="Arial" pitchFamily="34" charset="0"/>
            </a:endParaRPr>
          </a:p>
        </p:txBody>
      </p:sp>
      <p:sp>
        <p:nvSpPr>
          <p:cNvPr id="4710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78367" y="1258891"/>
            <a:ext cx="11245851" cy="48656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TW"/>
              <a:t>Klicken Sie, um die Formate des Vorlagentextes zu bearbeiten</a:t>
            </a:r>
          </a:p>
          <a:p>
            <a:pPr lvl="1"/>
            <a:r>
              <a:rPr lang="en-US" altLang="zh-TW"/>
              <a:t>Erste Ebene</a:t>
            </a:r>
          </a:p>
          <a:p>
            <a:pPr lvl="2"/>
            <a:r>
              <a:rPr lang="en-US" altLang="zh-TW"/>
              <a:t>Zweite Ebene</a:t>
            </a:r>
          </a:p>
          <a:p>
            <a:pPr lvl="3"/>
            <a:r>
              <a:rPr lang="en-US" altLang="zh-TW"/>
              <a:t>Dritte Ebene</a:t>
            </a:r>
          </a:p>
          <a:p>
            <a:pPr lvl="4"/>
            <a:r>
              <a:rPr lang="en-US" altLang="zh-TW"/>
              <a:t>Vierte Ebene</a:t>
            </a:r>
          </a:p>
          <a:p>
            <a:pPr lvl="0"/>
            <a:r>
              <a:rPr lang="en-US" altLang="zh-TW"/>
              <a:t>Klicken Sie, um die Formate des Vorlagentextes zu bearbeiten</a:t>
            </a:r>
          </a:p>
        </p:txBody>
      </p:sp>
      <p:sp>
        <p:nvSpPr>
          <p:cNvPr id="4710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78369" y="107951"/>
            <a:ext cx="8997951" cy="881063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TW"/>
              <a:t>Klicken Sie, um das Titelformat zu bearbeiten</a:t>
            </a:r>
          </a:p>
        </p:txBody>
      </p:sp>
      <p:sp>
        <p:nvSpPr>
          <p:cNvPr id="124933" name="Rectangle 5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10238318" y="6451600"/>
            <a:ext cx="1485900" cy="179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r">
              <a:defRPr sz="1000">
                <a:solidFill>
                  <a:srgbClr val="000000"/>
                </a:solidFill>
                <a:latin typeface="BISansCond" pitchFamily="2" charset="0"/>
                <a:ea typeface="新細明體" pitchFamily="18" charset="-12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zh-TW" dirty="0">
              <a:cs typeface="Arial" pitchFamily="34" charset="0"/>
            </a:endParaRPr>
          </a:p>
        </p:txBody>
      </p:sp>
      <p:sp>
        <p:nvSpPr>
          <p:cNvPr id="124934" name="Rectangle 6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78367" y="6423028"/>
            <a:ext cx="8638117" cy="3603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000">
                <a:solidFill>
                  <a:srgbClr val="000000"/>
                </a:solidFill>
                <a:latin typeface="BISansCond"/>
              </a:defRPr>
            </a:lvl1pPr>
          </a:lstStyle>
          <a:p>
            <a:pPr>
              <a:defRPr/>
            </a:pPr>
            <a:r>
              <a:rPr lang="en-US" dirty="0">
                <a:cs typeface="Arial" pitchFamily="34" charset="0"/>
              </a:rPr>
              <a:t> Business Review Template - Confidential</a:t>
            </a:r>
          </a:p>
        </p:txBody>
      </p:sp>
      <p:pic>
        <p:nvPicPr>
          <p:cNvPr id="47111" name="Picture 7" descr="BI-Logo_36pt_blue_ne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57834" y="179388"/>
            <a:ext cx="1947333" cy="449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821112211"/>
      </p:ext>
    </p:extLst>
  </p:cSld>
  <p:clrMap bg1="lt1" tx1="dk1" bg2="lt2" tx2="dk2" accent1="accent1" accent2="accent2" accent3="accent3" accent4="accent4" accent5="accent5" accent6="accent6" hlink="hlink" folHlink="folHlink"/>
  <p:transition spd="med"/>
  <p:hf sldNum="0"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Calibri" pitchFamily="34" charset="0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Calibri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Calibri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Calibri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Calibri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BISansCond" pitchFamily="2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BISansCond" pitchFamily="2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BISansCond" pitchFamily="2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BISansCond" pitchFamily="2" charset="0"/>
        </a:defRPr>
      </a:lvl9pPr>
    </p:titleStyle>
    <p:bodyStyle>
      <a:lvl1pPr marL="342900" indent="-342900" algn="l" defTabSz="8610600" rtl="0" eaLnBrk="0" fontAlgn="base" hangingPunct="0">
        <a:spcBef>
          <a:spcPct val="0"/>
        </a:spcBef>
        <a:spcAft>
          <a:spcPct val="0"/>
        </a:spcAft>
        <a:buClr>
          <a:schemeClr val="folHlink"/>
        </a:buClr>
        <a:buFont typeface="Wingdings" pitchFamily="2" charset="2"/>
        <a:defRPr sz="2000">
          <a:solidFill>
            <a:schemeClr val="tx1"/>
          </a:solidFill>
          <a:latin typeface="Calibri" pitchFamily="34" charset="0"/>
          <a:ea typeface="+mn-ea"/>
          <a:cs typeface="+mn-cs"/>
        </a:defRPr>
      </a:lvl1pPr>
      <a:lvl2pPr marL="276225" indent="-274638" algn="l" defTabSz="8610600" rtl="0" eaLnBrk="0" fontAlgn="base" hangingPunct="0">
        <a:spcBef>
          <a:spcPct val="0"/>
        </a:spcBef>
        <a:spcAft>
          <a:spcPct val="0"/>
        </a:spcAft>
        <a:buClr>
          <a:schemeClr val="accent1"/>
        </a:buClr>
        <a:buChar char="•"/>
        <a:defRPr sz="2000">
          <a:solidFill>
            <a:schemeClr val="tx1"/>
          </a:solidFill>
          <a:latin typeface="Calibri" pitchFamily="34" charset="0"/>
        </a:defRPr>
      </a:lvl2pPr>
      <a:lvl3pPr marL="542925" indent="-265113" algn="l" defTabSz="8610600" rtl="0" eaLnBrk="0" fontAlgn="base" hangingPunct="0">
        <a:spcBef>
          <a:spcPct val="0"/>
        </a:spcBef>
        <a:spcAft>
          <a:spcPct val="0"/>
        </a:spcAft>
        <a:buClr>
          <a:schemeClr val="accent1"/>
        </a:buClr>
        <a:buFont typeface="BISansCond" pitchFamily="2" charset="0"/>
        <a:buChar char="–"/>
        <a:defRPr sz="2000">
          <a:solidFill>
            <a:schemeClr val="tx1"/>
          </a:solidFill>
          <a:latin typeface="Calibri" pitchFamily="34" charset="0"/>
        </a:defRPr>
      </a:lvl3pPr>
      <a:lvl4pPr marL="819150" indent="-274638" algn="l" defTabSz="8610600" rtl="0" eaLnBrk="0" fontAlgn="base" hangingPunct="0">
        <a:spcBef>
          <a:spcPct val="0"/>
        </a:spcBef>
        <a:spcAft>
          <a:spcPct val="0"/>
        </a:spcAft>
        <a:buClr>
          <a:schemeClr val="accent1"/>
        </a:buClr>
        <a:buFont typeface="BISansCond" pitchFamily="2" charset="0"/>
        <a:buChar char="–"/>
        <a:defRPr sz="2000">
          <a:solidFill>
            <a:schemeClr val="tx1"/>
          </a:solidFill>
          <a:latin typeface="Calibri" pitchFamily="34" charset="0"/>
        </a:defRPr>
      </a:lvl4pPr>
      <a:lvl5pPr marL="1085850" indent="-265113" algn="l" defTabSz="8610600" rtl="0" eaLnBrk="0" fontAlgn="base" hangingPunct="0">
        <a:spcBef>
          <a:spcPct val="0"/>
        </a:spcBef>
        <a:spcAft>
          <a:spcPct val="0"/>
        </a:spcAft>
        <a:buClr>
          <a:schemeClr val="accent1"/>
        </a:buClr>
        <a:buFont typeface="BISansCond" pitchFamily="2" charset="0"/>
        <a:buChar char="–"/>
        <a:defRPr sz="2000">
          <a:solidFill>
            <a:schemeClr val="tx1"/>
          </a:solidFill>
          <a:latin typeface="Calibri" pitchFamily="34" charset="0"/>
        </a:defRPr>
      </a:lvl5pPr>
      <a:lvl6pPr marL="1543050" indent="-265113" algn="l" defTabSz="8610600" rtl="0" eaLnBrk="1" fontAlgn="base" hangingPunct="1">
        <a:spcBef>
          <a:spcPct val="0"/>
        </a:spcBef>
        <a:spcAft>
          <a:spcPct val="0"/>
        </a:spcAft>
        <a:buFont typeface="BISansCond" pitchFamily="2" charset="0"/>
        <a:buChar char="–"/>
        <a:defRPr sz="2000">
          <a:solidFill>
            <a:schemeClr val="tx1"/>
          </a:solidFill>
          <a:latin typeface="+mn-lt"/>
        </a:defRPr>
      </a:lvl6pPr>
      <a:lvl7pPr marL="2000250" indent="-265113" algn="l" defTabSz="8610600" rtl="0" eaLnBrk="1" fontAlgn="base" hangingPunct="1">
        <a:spcBef>
          <a:spcPct val="0"/>
        </a:spcBef>
        <a:spcAft>
          <a:spcPct val="0"/>
        </a:spcAft>
        <a:buFont typeface="BISansCond" pitchFamily="2" charset="0"/>
        <a:buChar char="–"/>
        <a:defRPr sz="2000">
          <a:solidFill>
            <a:schemeClr val="tx1"/>
          </a:solidFill>
          <a:latin typeface="+mn-lt"/>
        </a:defRPr>
      </a:lvl7pPr>
      <a:lvl8pPr marL="2457450" indent="-265113" algn="l" defTabSz="8610600" rtl="0" eaLnBrk="1" fontAlgn="base" hangingPunct="1">
        <a:spcBef>
          <a:spcPct val="0"/>
        </a:spcBef>
        <a:spcAft>
          <a:spcPct val="0"/>
        </a:spcAft>
        <a:buFont typeface="BISansCond" pitchFamily="2" charset="0"/>
        <a:buChar char="–"/>
        <a:defRPr sz="2000">
          <a:solidFill>
            <a:schemeClr val="tx1"/>
          </a:solidFill>
          <a:latin typeface="+mn-lt"/>
        </a:defRPr>
      </a:lvl8pPr>
      <a:lvl9pPr marL="2914650" indent="-265113" algn="l" defTabSz="8610600" rtl="0" eaLnBrk="1" fontAlgn="base" hangingPunct="1">
        <a:spcBef>
          <a:spcPct val="0"/>
        </a:spcBef>
        <a:spcAft>
          <a:spcPct val="0"/>
        </a:spcAft>
        <a:buFont typeface="BISansCond" pitchFamily="2" charset="0"/>
        <a:buChar char="–"/>
        <a:defRPr sz="20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645584" y="60325"/>
            <a:ext cx="10699749" cy="889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647700" y="1196975"/>
            <a:ext cx="10653184" cy="4897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102" name="Rectangle 6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165600" y="6248400"/>
            <a:ext cx="3860800" cy="4572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ctr" eaLnBrk="0" fontAlgn="auto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 dirty="0">
                <a:solidFill>
                  <a:srgbClr val="00498B"/>
                </a:solidFill>
                <a:latin typeface="Tahoma" pitchFamily="34" charset="0"/>
                <a:ea typeface="ＭＳ Ｐゴシック" pitchFamily="1" charset="-128"/>
                <a:cs typeface="+mn-cs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4104" name="Text Box 8"/>
          <p:cNvSpPr txBox="1">
            <a:spLocks noChangeArrowheads="1"/>
          </p:cNvSpPr>
          <p:nvPr/>
        </p:nvSpPr>
        <p:spPr bwMode="auto">
          <a:xfrm>
            <a:off x="7056967" y="1125538"/>
            <a:ext cx="5376333" cy="369308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  <a:effectLst/>
        </p:spPr>
        <p:txBody>
          <a:bodyPr lIns="91414" tIns="45708" rIns="91414" bIns="45708">
            <a:spAutoFit/>
          </a:bodyPr>
          <a:lstStyle/>
          <a:p>
            <a:pPr algn="ctr" fontAlgn="auto">
              <a:spcBef>
                <a:spcPct val="50000"/>
              </a:spcBef>
              <a:spcAft>
                <a:spcPts val="0"/>
              </a:spcAft>
              <a:defRPr/>
            </a:pPr>
            <a:endParaRPr lang="en-US" sz="1800" dirty="0">
              <a:solidFill>
                <a:srgbClr val="FFFFFF"/>
              </a:solidFill>
              <a:latin typeface="BISansCond" pitchFamily="2" charset="0"/>
            </a:endParaRPr>
          </a:p>
        </p:txBody>
      </p:sp>
      <p:sp>
        <p:nvSpPr>
          <p:cNvPr id="4105" name="Text Box 9"/>
          <p:cNvSpPr txBox="1">
            <a:spLocks noChangeArrowheads="1"/>
          </p:cNvSpPr>
          <p:nvPr/>
        </p:nvSpPr>
        <p:spPr bwMode="auto">
          <a:xfrm>
            <a:off x="6288617" y="4221163"/>
            <a:ext cx="3071283" cy="369308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  <a:effectLst/>
        </p:spPr>
        <p:txBody>
          <a:bodyPr lIns="91414" tIns="45708" rIns="91414" bIns="45708">
            <a:spAutoFit/>
          </a:bodyPr>
          <a:lstStyle/>
          <a:p>
            <a:pPr algn="ctr" fontAlgn="auto">
              <a:spcBef>
                <a:spcPct val="50000"/>
              </a:spcBef>
              <a:spcAft>
                <a:spcPts val="0"/>
              </a:spcAft>
              <a:defRPr/>
            </a:pPr>
            <a:endParaRPr lang="en-US" sz="1800" dirty="0">
              <a:solidFill>
                <a:srgbClr val="FFFFFF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378226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94" r:id="rId1"/>
    <p:sldLayoutId id="2147484095" r:id="rId2"/>
    <p:sldLayoutId id="2147484096" r:id="rId3"/>
    <p:sldLayoutId id="2147484097" r:id="rId4"/>
    <p:sldLayoutId id="2147484098" r:id="rId5"/>
    <p:sldLayoutId id="2147484100" r:id="rId6"/>
    <p:sldLayoutId id="2147484101" r:id="rId7"/>
    <p:sldLayoutId id="2147484102" r:id="rId8"/>
  </p:sldLayoutIdLst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Tahoma" pitchFamily="34" charset="0"/>
          <a:ea typeface="ＭＳ Ｐゴシック" pitchFamily="34" charset="-128"/>
          <a:cs typeface="Tahoma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Tahoma" pitchFamily="34" charset="0"/>
          <a:ea typeface="ＭＳ Ｐゴシック" pitchFamily="34" charset="-128"/>
          <a:cs typeface="Tahoma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Tahoma" pitchFamily="34" charset="0"/>
          <a:ea typeface="ＭＳ Ｐゴシック" pitchFamily="34" charset="-128"/>
          <a:cs typeface="Tahoma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Tahoma" pitchFamily="34" charset="0"/>
          <a:ea typeface="ＭＳ Ｐゴシック" pitchFamily="34" charset="-128"/>
          <a:cs typeface="Tahoma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Tahoma" pitchFamily="34" charset="0"/>
          <a:ea typeface="ＭＳ Ｐゴシック" pitchFamily="34" charset="-128"/>
          <a:cs typeface="Tahoma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Tahoma" pitchFamily="34" charset="0"/>
          <a:ea typeface="ＭＳ Ｐゴシック" pitchFamily="34" charset="-128"/>
          <a:cs typeface="Tahoma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Tahoma" pitchFamily="34" charset="0"/>
          <a:ea typeface="ＭＳ Ｐゴシック" pitchFamily="34" charset="-128"/>
          <a:cs typeface="Tahoma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Tahoma" pitchFamily="34" charset="0"/>
          <a:ea typeface="ＭＳ Ｐゴシック" pitchFamily="34" charset="-128"/>
          <a:cs typeface="Tahoma" pitchFamily="34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Blip>
          <a:blip r:embed="rId10"/>
        </a:buBlip>
        <a:defRPr sz="24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Clr>
          <a:srgbClr val="AB0932"/>
        </a:buClr>
        <a:buChar char="–"/>
        <a:defRPr sz="20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Clr>
          <a:srgbClr val="AB0932"/>
        </a:buClr>
        <a:buFont typeface="Times" pitchFamily="18" charset="0"/>
        <a:buChar char="•"/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Clr>
          <a:srgbClr val="AB0932"/>
        </a:buClr>
        <a:buChar char="–"/>
        <a:defRPr sz="14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lr>
          <a:srgbClr val="AB0932"/>
        </a:buClr>
        <a:buChar char="»"/>
        <a:defRPr sz="10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lr>
          <a:srgbClr val="AB0932"/>
        </a:buClr>
        <a:buChar char="»"/>
        <a:defRPr sz="1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lr>
          <a:srgbClr val="AB0932"/>
        </a:buClr>
        <a:buChar char="»"/>
        <a:defRPr sz="1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lr>
          <a:srgbClr val="AB0932"/>
        </a:buClr>
        <a:buChar char="»"/>
        <a:defRPr sz="1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lr>
          <a:srgbClr val="AB0932"/>
        </a:buClr>
        <a:buChar char="»"/>
        <a:defRPr sz="10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2122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216" imgH="216" progId="TCLayout.ActiveDocument.1">
                  <p:embed/>
                </p:oleObj>
              </mc:Choice>
              <mc:Fallback>
                <p:oleObj name="think-cell Slide" r:id="rId11" imgW="216" imgH="216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2122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矩形 7" hidden="1"/>
          <p:cNvSpPr/>
          <p:nvPr userDrawn="1">
            <p:custDataLst>
              <p:tags r:id="rId10"/>
            </p:custDataLst>
          </p:nvPr>
        </p:nvSpPr>
        <p:spPr>
          <a:xfrm>
            <a:off x="1" y="2"/>
            <a:ext cx="211667" cy="211667"/>
          </a:xfrm>
          <a:prstGeom prst="rect">
            <a:avLst/>
          </a:prstGeom>
          <a:solidFill>
            <a:schemeClr val="bg1"/>
          </a:solidFill>
          <a:ln w="12700">
            <a:solidFill>
              <a:srgbClr val="00336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altLang="zh-CN" sz="1800" b="0" i="0" baseline="0" dirty="0" err="1">
              <a:solidFill>
                <a:schemeClr val="tx1"/>
              </a:solidFill>
              <a:latin typeface="BISansCond" panose="02000006050000020004" pitchFamily="2" charset="0"/>
              <a:ea typeface="+mj-ea"/>
              <a:cs typeface="+mj-cs"/>
              <a:sym typeface="BISansCond" panose="02000006050000020004" pitchFamily="2" charset="0"/>
            </a:endParaRPr>
          </a:p>
        </p:txBody>
      </p:sp>
      <p:grpSp>
        <p:nvGrpSpPr>
          <p:cNvPr id="23" name="Gruppieren 22"/>
          <p:cNvGrpSpPr/>
          <p:nvPr/>
        </p:nvGrpSpPr>
        <p:grpSpPr>
          <a:xfrm>
            <a:off x="243775" y="48951"/>
            <a:ext cx="11710247" cy="6809055"/>
            <a:chOff x="182826" y="36709"/>
            <a:chExt cx="8782685" cy="5106791"/>
          </a:xfrm>
        </p:grpSpPr>
        <p:cxnSp>
          <p:nvCxnSpPr>
            <p:cNvPr id="9" name="Gerade Verbindung 8"/>
            <p:cNvCxnSpPr/>
            <p:nvPr/>
          </p:nvCxnSpPr>
          <p:spPr>
            <a:xfrm>
              <a:off x="367575" y="36709"/>
              <a:ext cx="0" cy="5106791"/>
            </a:xfrm>
            <a:prstGeom prst="line">
              <a:avLst/>
            </a:prstGeom>
            <a:ln w="9525">
              <a:noFill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 Verbindung 10"/>
            <p:cNvCxnSpPr/>
            <p:nvPr/>
          </p:nvCxnSpPr>
          <p:spPr>
            <a:xfrm flipV="1">
              <a:off x="182826" y="4783577"/>
              <a:ext cx="8782685" cy="1"/>
            </a:xfrm>
            <a:prstGeom prst="line">
              <a:avLst/>
            </a:prstGeom>
            <a:ln w="9525">
              <a:noFill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Gerade Verbindung 12"/>
            <p:cNvCxnSpPr/>
            <p:nvPr/>
          </p:nvCxnSpPr>
          <p:spPr>
            <a:xfrm>
              <a:off x="8776425" y="36709"/>
              <a:ext cx="0" cy="5106791"/>
            </a:xfrm>
            <a:prstGeom prst="line">
              <a:avLst/>
            </a:prstGeom>
            <a:ln w="9525">
              <a:noFill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 Verbindung 13"/>
            <p:cNvCxnSpPr/>
            <p:nvPr/>
          </p:nvCxnSpPr>
          <p:spPr>
            <a:xfrm flipV="1">
              <a:off x="812055" y="5039714"/>
              <a:ext cx="7258417" cy="1"/>
            </a:xfrm>
            <a:prstGeom prst="line">
              <a:avLst/>
            </a:prstGeom>
            <a:ln w="9525">
              <a:noFill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Gerade Verbindung 15"/>
            <p:cNvCxnSpPr/>
            <p:nvPr/>
          </p:nvCxnSpPr>
          <p:spPr>
            <a:xfrm>
              <a:off x="1351328" y="4715849"/>
              <a:ext cx="0" cy="371785"/>
            </a:xfrm>
            <a:prstGeom prst="line">
              <a:avLst/>
            </a:prstGeom>
            <a:ln w="9525">
              <a:noFill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18"/>
            <p:cNvCxnSpPr/>
            <p:nvPr/>
          </p:nvCxnSpPr>
          <p:spPr>
            <a:xfrm flipV="1">
              <a:off x="182826" y="188161"/>
              <a:ext cx="8782685" cy="1"/>
            </a:xfrm>
            <a:prstGeom prst="line">
              <a:avLst/>
            </a:prstGeom>
            <a:ln w="9525">
              <a:noFill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19"/>
            <p:cNvCxnSpPr/>
            <p:nvPr/>
          </p:nvCxnSpPr>
          <p:spPr>
            <a:xfrm>
              <a:off x="991288" y="4715849"/>
              <a:ext cx="0" cy="371785"/>
            </a:xfrm>
            <a:prstGeom prst="line">
              <a:avLst/>
            </a:prstGeom>
            <a:ln w="9525">
              <a:noFill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490100" y="387431"/>
            <a:ext cx="11211800" cy="27699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de-DE" noProof="0" dirty="0"/>
              <a:t>Titelmasterformat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90100" y="1600203"/>
            <a:ext cx="11211800" cy="45259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 dirty="0"/>
              <a:t>Textmasterformat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  <a:p>
            <a:pPr lvl="1"/>
            <a:r>
              <a:rPr lang="en-GB" noProof="0" dirty="0" err="1"/>
              <a:t>Zwei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2"/>
            <a:r>
              <a:rPr lang="en-GB" noProof="0" dirty="0" err="1"/>
              <a:t>Drit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3"/>
            <a:r>
              <a:rPr lang="en-GB" noProof="0" dirty="0" err="1"/>
              <a:t>Vier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4"/>
            <a:r>
              <a:rPr lang="en-GB" noProof="0" dirty="0" err="1"/>
              <a:t>Fünf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10486775" y="6592495"/>
            <a:ext cx="452047" cy="115416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750">
                <a:solidFill>
                  <a:schemeClr val="bg1">
                    <a:lumMod val="50000"/>
                  </a:schemeClr>
                </a:solidFill>
                <a:latin typeface="BISansCond" panose="02000006050000020004" pitchFamily="2" charset="0"/>
              </a:defRPr>
            </a:lvl1pPr>
          </a:lstStyle>
          <a:p>
            <a:fld id="{F3945ADC-88CB-46E1-9AA8-A89BE0C01ECB}" type="datetime1">
              <a:rPr lang="en-GB" smtClean="0">
                <a:solidFill>
                  <a:srgbClr val="FFFFFF">
                    <a:lumMod val="50000"/>
                  </a:srgbClr>
                </a:solidFill>
              </a:rPr>
              <a:pPr/>
              <a:t>14/12/2021</a:t>
            </a:fld>
            <a:endParaRPr lang="en-GB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801772" y="6592495"/>
            <a:ext cx="8186291" cy="11541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50">
                <a:solidFill>
                  <a:schemeClr val="bg1">
                    <a:lumMod val="50000"/>
                  </a:schemeClr>
                </a:solidFill>
                <a:latin typeface="BISansCond" panose="02000006050000020004" pitchFamily="2" charset="0"/>
              </a:defRPr>
            </a:lvl1pPr>
          </a:lstStyle>
          <a:p>
            <a:r>
              <a:rPr lang="en-US">
                <a:solidFill>
                  <a:srgbClr val="FFFFFF">
                    <a:lumMod val="50000"/>
                  </a:srgbClr>
                </a:solidFill>
              </a:rPr>
              <a:t>HP Regions - 2017 Annual Discussion</a:t>
            </a:r>
            <a:endParaRPr lang="en-GB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591294" y="6592495"/>
            <a:ext cx="110607" cy="115416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750">
                <a:solidFill>
                  <a:schemeClr val="bg1">
                    <a:lumMod val="50000"/>
                  </a:schemeClr>
                </a:solidFill>
                <a:latin typeface="BISansCond" panose="02000006050000020004" pitchFamily="2" charset="0"/>
              </a:defRPr>
            </a:lvl1pPr>
          </a:lstStyle>
          <a:p>
            <a:fld id="{143B55C4-4F5A-416B-997D-6CE47EB0A945}" type="slidenum">
              <a:rPr lang="en-GB" smtClean="0">
                <a:solidFill>
                  <a:srgbClr val="FFFFFF">
                    <a:lumMod val="50000"/>
                  </a:srgbClr>
                </a:solidFill>
              </a:rPr>
              <a:pPr/>
              <a:t>‹#›</a:t>
            </a:fld>
            <a:endParaRPr lang="en-GB" dirty="0">
              <a:solidFill>
                <a:srgbClr val="FFFFFF">
                  <a:lumMod val="50000"/>
                </a:srgbClr>
              </a:solidFill>
            </a:endParaRPr>
          </a:p>
        </p:txBody>
      </p:sp>
      <p:grpSp>
        <p:nvGrpSpPr>
          <p:cNvPr id="17" name="Gruppieren 16"/>
          <p:cNvGrpSpPr/>
          <p:nvPr/>
        </p:nvGrpSpPr>
        <p:grpSpPr>
          <a:xfrm>
            <a:off x="243775" y="48951"/>
            <a:ext cx="11710247" cy="6809055"/>
            <a:chOff x="182826" y="36709"/>
            <a:chExt cx="8782685" cy="5106791"/>
          </a:xfrm>
        </p:grpSpPr>
        <p:cxnSp>
          <p:nvCxnSpPr>
            <p:cNvPr id="18" name="Gerade Verbindung 17"/>
            <p:cNvCxnSpPr/>
            <p:nvPr/>
          </p:nvCxnSpPr>
          <p:spPr>
            <a:xfrm>
              <a:off x="367575" y="36709"/>
              <a:ext cx="0" cy="5106791"/>
            </a:xfrm>
            <a:prstGeom prst="line">
              <a:avLst/>
            </a:prstGeom>
            <a:ln w="9525">
              <a:noFill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20"/>
            <p:cNvCxnSpPr/>
            <p:nvPr/>
          </p:nvCxnSpPr>
          <p:spPr>
            <a:xfrm flipV="1">
              <a:off x="182826" y="4783577"/>
              <a:ext cx="8782685" cy="1"/>
            </a:xfrm>
            <a:prstGeom prst="line">
              <a:avLst/>
            </a:prstGeom>
            <a:ln w="9525">
              <a:noFill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 Verbindung 21"/>
            <p:cNvCxnSpPr/>
            <p:nvPr/>
          </p:nvCxnSpPr>
          <p:spPr>
            <a:xfrm>
              <a:off x="8776425" y="36709"/>
              <a:ext cx="0" cy="5106791"/>
            </a:xfrm>
            <a:prstGeom prst="line">
              <a:avLst/>
            </a:prstGeom>
            <a:ln w="9525">
              <a:noFill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23"/>
            <p:cNvCxnSpPr/>
            <p:nvPr/>
          </p:nvCxnSpPr>
          <p:spPr>
            <a:xfrm flipV="1">
              <a:off x="812055" y="5039714"/>
              <a:ext cx="7258417" cy="1"/>
            </a:xfrm>
            <a:prstGeom prst="line">
              <a:avLst/>
            </a:prstGeom>
            <a:ln w="9525">
              <a:noFill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24"/>
            <p:cNvCxnSpPr/>
            <p:nvPr/>
          </p:nvCxnSpPr>
          <p:spPr>
            <a:xfrm>
              <a:off x="1351328" y="4715849"/>
              <a:ext cx="0" cy="371785"/>
            </a:xfrm>
            <a:prstGeom prst="line">
              <a:avLst/>
            </a:prstGeom>
            <a:ln w="9525">
              <a:noFill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 Verbindung 25"/>
            <p:cNvCxnSpPr/>
            <p:nvPr/>
          </p:nvCxnSpPr>
          <p:spPr>
            <a:xfrm flipV="1">
              <a:off x="182826" y="188161"/>
              <a:ext cx="8782685" cy="1"/>
            </a:xfrm>
            <a:prstGeom prst="line">
              <a:avLst/>
            </a:prstGeom>
            <a:ln w="9525">
              <a:noFill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26"/>
            <p:cNvCxnSpPr/>
            <p:nvPr/>
          </p:nvCxnSpPr>
          <p:spPr>
            <a:xfrm>
              <a:off x="991288" y="4715849"/>
              <a:ext cx="0" cy="371785"/>
            </a:xfrm>
            <a:prstGeom prst="line">
              <a:avLst/>
            </a:prstGeom>
            <a:ln w="9525">
              <a:noFill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31" name="Grafik 30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5924" y="6578961"/>
            <a:ext cx="840360" cy="1905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5834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74" r:id="rId1"/>
    <p:sldLayoutId id="2147484175" r:id="rId2"/>
    <p:sldLayoutId id="2147484176" r:id="rId3"/>
    <p:sldLayoutId id="2147484177" r:id="rId4"/>
    <p:sldLayoutId id="2147484178" r:id="rId5"/>
    <p:sldLayoutId id="2147484179" r:id="rId6"/>
    <p:sldLayoutId id="2147484181" r:id="rId7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685783" rtl="0" eaLnBrk="1" latinLnBrk="0" hangingPunct="1">
        <a:spcBef>
          <a:spcPct val="0"/>
        </a:spcBef>
        <a:buNone/>
        <a:defRPr sz="1800" kern="1200">
          <a:solidFill>
            <a:srgbClr val="003366"/>
          </a:solidFill>
          <a:latin typeface="+mj-lt"/>
          <a:ea typeface="+mj-ea"/>
          <a:cs typeface="+mj-cs"/>
        </a:defRPr>
      </a:lvl1pPr>
    </p:titleStyle>
    <p:bodyStyle>
      <a:lvl1pPr marL="200020" indent="-200020" algn="l" defTabSz="685783" rtl="0" eaLnBrk="1" latinLnBrk="0" hangingPunct="1">
        <a:spcBef>
          <a:spcPts val="3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38129" indent="-138110" algn="l" defTabSz="685783" rtl="0" eaLnBrk="1" latinLnBrk="0" hangingPunct="1">
        <a:spcBef>
          <a:spcPts val="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471476" indent="-133347" algn="l" defTabSz="685783" rtl="0" eaLnBrk="1" latinLnBrk="0" hangingPunct="1">
        <a:spcBef>
          <a:spcPts val="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604823" indent="-133347" algn="l" defTabSz="685783" rtl="0" eaLnBrk="1" latinLnBrk="0" hangingPunct="1">
        <a:spcBef>
          <a:spcPts val="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738170" indent="-133347" algn="l" defTabSz="685783" rtl="0" eaLnBrk="1" latinLnBrk="0" hangingPunct="1">
        <a:spcBef>
          <a:spcPts val="0"/>
        </a:spcBef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03" indent="-171446" algn="l" defTabSz="685783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795" indent="-171446" algn="l" defTabSz="685783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686" indent="-171446" algn="l" defTabSz="685783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77" indent="-171446" algn="l" defTabSz="685783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9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5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8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" name="Gruppieren 22"/>
          <p:cNvGrpSpPr/>
          <p:nvPr/>
        </p:nvGrpSpPr>
        <p:grpSpPr>
          <a:xfrm>
            <a:off x="243770" y="48946"/>
            <a:ext cx="11710247" cy="6809055"/>
            <a:chOff x="182826" y="36709"/>
            <a:chExt cx="8782685" cy="5106791"/>
          </a:xfrm>
        </p:grpSpPr>
        <p:cxnSp>
          <p:nvCxnSpPr>
            <p:cNvPr id="9" name="Gerade Verbindung 8"/>
            <p:cNvCxnSpPr/>
            <p:nvPr/>
          </p:nvCxnSpPr>
          <p:spPr>
            <a:xfrm>
              <a:off x="367575" y="36709"/>
              <a:ext cx="0" cy="5106791"/>
            </a:xfrm>
            <a:prstGeom prst="line">
              <a:avLst/>
            </a:prstGeom>
            <a:ln w="9525">
              <a:noFill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 Verbindung 10"/>
            <p:cNvCxnSpPr/>
            <p:nvPr/>
          </p:nvCxnSpPr>
          <p:spPr>
            <a:xfrm flipV="1">
              <a:off x="182826" y="4783577"/>
              <a:ext cx="8782685" cy="1"/>
            </a:xfrm>
            <a:prstGeom prst="line">
              <a:avLst/>
            </a:prstGeom>
            <a:ln w="9525">
              <a:noFill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Gerade Verbindung 12"/>
            <p:cNvCxnSpPr/>
            <p:nvPr/>
          </p:nvCxnSpPr>
          <p:spPr>
            <a:xfrm>
              <a:off x="8776425" y="36709"/>
              <a:ext cx="0" cy="5106791"/>
            </a:xfrm>
            <a:prstGeom prst="line">
              <a:avLst/>
            </a:prstGeom>
            <a:ln w="9525">
              <a:noFill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 Verbindung 13"/>
            <p:cNvCxnSpPr/>
            <p:nvPr/>
          </p:nvCxnSpPr>
          <p:spPr>
            <a:xfrm flipV="1">
              <a:off x="812055" y="5039714"/>
              <a:ext cx="7258417" cy="1"/>
            </a:xfrm>
            <a:prstGeom prst="line">
              <a:avLst/>
            </a:prstGeom>
            <a:ln w="9525">
              <a:noFill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Gerade Verbindung 15"/>
            <p:cNvCxnSpPr/>
            <p:nvPr/>
          </p:nvCxnSpPr>
          <p:spPr>
            <a:xfrm>
              <a:off x="1351328" y="4715849"/>
              <a:ext cx="0" cy="371785"/>
            </a:xfrm>
            <a:prstGeom prst="line">
              <a:avLst/>
            </a:prstGeom>
            <a:ln w="9525">
              <a:noFill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18"/>
            <p:cNvCxnSpPr/>
            <p:nvPr/>
          </p:nvCxnSpPr>
          <p:spPr>
            <a:xfrm flipV="1">
              <a:off x="182826" y="188161"/>
              <a:ext cx="8782685" cy="1"/>
            </a:xfrm>
            <a:prstGeom prst="line">
              <a:avLst/>
            </a:prstGeom>
            <a:ln w="9525">
              <a:noFill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19"/>
            <p:cNvCxnSpPr/>
            <p:nvPr/>
          </p:nvCxnSpPr>
          <p:spPr>
            <a:xfrm>
              <a:off x="991288" y="4715849"/>
              <a:ext cx="0" cy="371785"/>
            </a:xfrm>
            <a:prstGeom prst="line">
              <a:avLst/>
            </a:prstGeom>
            <a:ln w="9525">
              <a:noFill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490100" y="387429"/>
            <a:ext cx="11211800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GB" noProof="0" dirty="0"/>
              <a:t>Click to add title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90100" y="1600202"/>
            <a:ext cx="11211800" cy="45259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/>
              <a:t>Click to add text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10332882" y="6573259"/>
            <a:ext cx="605935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1000" b="0" i="0">
                <a:solidFill>
                  <a:schemeClr val="bg1">
                    <a:lumMod val="50000"/>
                  </a:schemeClr>
                </a:solidFill>
                <a:latin typeface="BISansOptiCond"/>
                <a:cs typeface="BISansOptiCond"/>
              </a:defRPr>
            </a:lvl1pPr>
          </a:lstStyle>
          <a:p>
            <a:fld id="{05287B8F-501A-4858-91F4-582DC2D72CA8}" type="datetime1">
              <a:rPr lang="en-GB" noProof="0" smtClean="0"/>
              <a:t>14/12/2021</a:t>
            </a:fld>
            <a:endParaRPr lang="en-GB" noProof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801771" y="6573259"/>
            <a:ext cx="8186291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0" b="0" i="0">
                <a:solidFill>
                  <a:schemeClr val="bg1">
                    <a:lumMod val="50000"/>
                  </a:schemeClr>
                </a:solidFill>
                <a:latin typeface="BISansOptiCond"/>
                <a:cs typeface="BISansOptiCond"/>
              </a:defRPr>
            </a:lvl1pPr>
          </a:lstStyle>
          <a:p>
            <a:r>
              <a:rPr lang="en-GB" noProof="0"/>
              <a:t>CMD T.C.M. / MCM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554424" y="6573259"/>
            <a:ext cx="147476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1000" b="0" i="0">
                <a:solidFill>
                  <a:schemeClr val="bg1">
                    <a:lumMod val="50000"/>
                  </a:schemeClr>
                </a:solidFill>
                <a:latin typeface="BISansOptiCond"/>
                <a:cs typeface="BISansOptiCond"/>
              </a:defRPr>
            </a:lvl1pPr>
          </a:lstStyle>
          <a:p>
            <a:fld id="{143B55C4-4F5A-416B-997D-6CE47EB0A945}" type="slidenum">
              <a:rPr lang="en-GB" noProof="0" smtClean="0"/>
              <a:pPr/>
              <a:t>‹#›</a:t>
            </a:fld>
            <a:endParaRPr lang="en-GB" noProof="0"/>
          </a:p>
        </p:txBody>
      </p:sp>
      <p:grpSp>
        <p:nvGrpSpPr>
          <p:cNvPr id="17" name="Gruppieren 16"/>
          <p:cNvGrpSpPr/>
          <p:nvPr/>
        </p:nvGrpSpPr>
        <p:grpSpPr>
          <a:xfrm>
            <a:off x="243770" y="48946"/>
            <a:ext cx="11710247" cy="6809055"/>
            <a:chOff x="182826" y="36709"/>
            <a:chExt cx="8782685" cy="5106791"/>
          </a:xfrm>
        </p:grpSpPr>
        <p:cxnSp>
          <p:nvCxnSpPr>
            <p:cNvPr id="18" name="Gerade Verbindung 17"/>
            <p:cNvCxnSpPr/>
            <p:nvPr/>
          </p:nvCxnSpPr>
          <p:spPr>
            <a:xfrm>
              <a:off x="367575" y="36709"/>
              <a:ext cx="0" cy="5106791"/>
            </a:xfrm>
            <a:prstGeom prst="line">
              <a:avLst/>
            </a:prstGeom>
            <a:ln w="9525">
              <a:noFill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20"/>
            <p:cNvCxnSpPr/>
            <p:nvPr/>
          </p:nvCxnSpPr>
          <p:spPr>
            <a:xfrm flipV="1">
              <a:off x="182826" y="4783577"/>
              <a:ext cx="8782685" cy="1"/>
            </a:xfrm>
            <a:prstGeom prst="line">
              <a:avLst/>
            </a:prstGeom>
            <a:ln w="9525">
              <a:noFill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 Verbindung 21"/>
            <p:cNvCxnSpPr/>
            <p:nvPr/>
          </p:nvCxnSpPr>
          <p:spPr>
            <a:xfrm>
              <a:off x="8776425" y="36709"/>
              <a:ext cx="0" cy="5106791"/>
            </a:xfrm>
            <a:prstGeom prst="line">
              <a:avLst/>
            </a:prstGeom>
            <a:ln w="9525">
              <a:noFill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23"/>
            <p:cNvCxnSpPr/>
            <p:nvPr/>
          </p:nvCxnSpPr>
          <p:spPr>
            <a:xfrm flipV="1">
              <a:off x="812055" y="5039714"/>
              <a:ext cx="7258417" cy="1"/>
            </a:xfrm>
            <a:prstGeom prst="line">
              <a:avLst/>
            </a:prstGeom>
            <a:ln w="9525">
              <a:noFill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24"/>
            <p:cNvCxnSpPr/>
            <p:nvPr/>
          </p:nvCxnSpPr>
          <p:spPr>
            <a:xfrm>
              <a:off x="1351328" y="4715849"/>
              <a:ext cx="0" cy="371785"/>
            </a:xfrm>
            <a:prstGeom prst="line">
              <a:avLst/>
            </a:prstGeom>
            <a:ln w="9525">
              <a:noFill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 Verbindung 25"/>
            <p:cNvCxnSpPr/>
            <p:nvPr/>
          </p:nvCxnSpPr>
          <p:spPr>
            <a:xfrm flipV="1">
              <a:off x="182826" y="188161"/>
              <a:ext cx="8782685" cy="1"/>
            </a:xfrm>
            <a:prstGeom prst="line">
              <a:avLst/>
            </a:prstGeom>
            <a:ln w="9525">
              <a:noFill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26"/>
            <p:cNvCxnSpPr/>
            <p:nvPr/>
          </p:nvCxnSpPr>
          <p:spPr>
            <a:xfrm>
              <a:off x="991288" y="4715849"/>
              <a:ext cx="0" cy="371785"/>
            </a:xfrm>
            <a:prstGeom prst="line">
              <a:avLst/>
            </a:prstGeom>
            <a:ln w="9525">
              <a:noFill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9" name="Grafik 28"/>
          <p:cNvPicPr>
            <a:picLocks noChangeAspect="1"/>
          </p:cNvPicPr>
          <p:nvPr/>
        </p:nvPicPr>
        <p:blipFill>
          <a:blip r:embed="rId3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5924" y="6485509"/>
            <a:ext cx="840360" cy="2540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96722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96" r:id="rId1"/>
    <p:sldLayoutId id="2147484197" r:id="rId2"/>
    <p:sldLayoutId id="2147484198" r:id="rId3"/>
    <p:sldLayoutId id="2147484199" r:id="rId4"/>
    <p:sldLayoutId id="2147484200" r:id="rId5"/>
    <p:sldLayoutId id="2147484201" r:id="rId6"/>
    <p:sldLayoutId id="2147484202" r:id="rId7"/>
    <p:sldLayoutId id="2147484203" r:id="rId8"/>
    <p:sldLayoutId id="2147484204" r:id="rId9"/>
    <p:sldLayoutId id="2147484205" r:id="rId10"/>
    <p:sldLayoutId id="2147484206" r:id="rId11"/>
    <p:sldLayoutId id="2147484207" r:id="rId12"/>
    <p:sldLayoutId id="2147484208" r:id="rId13"/>
    <p:sldLayoutId id="2147484209" r:id="rId14"/>
    <p:sldLayoutId id="2147484210" r:id="rId15"/>
    <p:sldLayoutId id="2147484211" r:id="rId16"/>
    <p:sldLayoutId id="2147484212" r:id="rId17"/>
    <p:sldLayoutId id="2147484213" r:id="rId18"/>
    <p:sldLayoutId id="2147484214" r:id="rId19"/>
    <p:sldLayoutId id="2147484215" r:id="rId20"/>
    <p:sldLayoutId id="2147484216" r:id="rId21"/>
    <p:sldLayoutId id="2147484217" r:id="rId22"/>
    <p:sldLayoutId id="2147484218" r:id="rId23"/>
    <p:sldLayoutId id="2147484219" r:id="rId24"/>
    <p:sldLayoutId id="2147484220" r:id="rId25"/>
    <p:sldLayoutId id="2147484221" r:id="rId26"/>
    <p:sldLayoutId id="2147484222" r:id="rId27"/>
    <p:sldLayoutId id="2147484350" r:id="rId28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  <p:txStyles>
    <p:titleStyle>
      <a:lvl1pPr algn="l" defTabSz="914400" rtl="0" eaLnBrk="1" latinLnBrk="0" hangingPunct="1">
        <a:spcBef>
          <a:spcPct val="0"/>
        </a:spcBef>
        <a:buNone/>
        <a:defRPr sz="2400" b="0" i="0" kern="1200">
          <a:solidFill>
            <a:srgbClr val="003366"/>
          </a:solidFill>
          <a:latin typeface="BISansOptiCond"/>
          <a:ea typeface="+mj-ea"/>
          <a:cs typeface="BISansOptiCond"/>
        </a:defRPr>
      </a:lvl1pPr>
    </p:titleStyle>
    <p:bodyStyle>
      <a:lvl1pPr marL="266700" indent="-266700" algn="l" defTabSz="914400" rtl="0" eaLnBrk="1" latinLnBrk="0" hangingPunct="1">
        <a:spcBef>
          <a:spcPts val="4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BISansOpti"/>
          <a:ea typeface="+mn-ea"/>
          <a:cs typeface="BISansOpti"/>
        </a:defRPr>
      </a:lvl1pPr>
      <a:lvl2pPr marL="450850" indent="-184150" algn="l" defTabSz="914400" rtl="0" eaLnBrk="1" latinLnBrk="0" hangingPunct="1">
        <a:spcBef>
          <a:spcPts val="0"/>
        </a:spcBef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BISansOpti"/>
          <a:ea typeface="+mn-ea"/>
          <a:cs typeface="BISansOpti"/>
        </a:defRPr>
      </a:lvl2pPr>
      <a:lvl3pPr marL="628650" indent="-177800" algn="l" defTabSz="914400" rtl="0" eaLnBrk="1" latinLnBrk="0" hangingPunct="1">
        <a:spcBef>
          <a:spcPts val="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BISansOpti"/>
          <a:ea typeface="+mn-ea"/>
          <a:cs typeface="BISansOpti"/>
        </a:defRPr>
      </a:lvl3pPr>
      <a:lvl4pPr marL="806450" indent="-177800" algn="l" defTabSz="914400" rtl="0" eaLnBrk="1" latinLnBrk="0" hangingPunct="1">
        <a:spcBef>
          <a:spcPts val="0"/>
        </a:spcBef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BISansOpti"/>
          <a:ea typeface="+mn-ea"/>
          <a:cs typeface="BISansOpti"/>
        </a:defRPr>
      </a:lvl4pPr>
      <a:lvl5pPr marL="984250" indent="-177800" algn="l" defTabSz="914400" rtl="0" eaLnBrk="1" latinLnBrk="0" hangingPunct="1">
        <a:spcBef>
          <a:spcPts val="0"/>
        </a:spcBef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BISansOpti"/>
          <a:ea typeface="+mn-ea"/>
          <a:cs typeface="BISansOpti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2122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216" imgH="216" progId="TCLayout.ActiveDocument.1">
                  <p:embed/>
                </p:oleObj>
              </mc:Choice>
              <mc:Fallback>
                <p:oleObj name="think-cell Slide" r:id="rId11" imgW="216" imgH="216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2122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矩形 7" hidden="1"/>
          <p:cNvSpPr/>
          <p:nvPr userDrawn="1">
            <p:custDataLst>
              <p:tags r:id="rId10"/>
            </p:custDataLst>
          </p:nvPr>
        </p:nvSpPr>
        <p:spPr>
          <a:xfrm>
            <a:off x="1" y="2"/>
            <a:ext cx="211667" cy="211667"/>
          </a:xfrm>
          <a:prstGeom prst="rect">
            <a:avLst/>
          </a:prstGeom>
          <a:solidFill>
            <a:schemeClr val="bg1"/>
          </a:solidFill>
          <a:ln w="12700">
            <a:solidFill>
              <a:srgbClr val="00336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altLang="zh-CN" sz="1800" b="0" i="0" baseline="0" dirty="0" err="1">
              <a:solidFill>
                <a:schemeClr val="tx1"/>
              </a:solidFill>
              <a:latin typeface="BISansCond" panose="02000006050000020004" pitchFamily="2" charset="0"/>
              <a:ea typeface="+mj-ea"/>
              <a:cs typeface="+mj-cs"/>
              <a:sym typeface="BISansCond" panose="02000006050000020004" pitchFamily="2" charset="0"/>
            </a:endParaRPr>
          </a:p>
        </p:txBody>
      </p:sp>
      <p:grpSp>
        <p:nvGrpSpPr>
          <p:cNvPr id="23" name="Gruppieren 22"/>
          <p:cNvGrpSpPr/>
          <p:nvPr/>
        </p:nvGrpSpPr>
        <p:grpSpPr>
          <a:xfrm>
            <a:off x="243775" y="48951"/>
            <a:ext cx="11710247" cy="6809055"/>
            <a:chOff x="182826" y="36709"/>
            <a:chExt cx="8782685" cy="5106791"/>
          </a:xfrm>
        </p:grpSpPr>
        <p:cxnSp>
          <p:nvCxnSpPr>
            <p:cNvPr id="9" name="Gerade Verbindung 8"/>
            <p:cNvCxnSpPr/>
            <p:nvPr/>
          </p:nvCxnSpPr>
          <p:spPr>
            <a:xfrm>
              <a:off x="367575" y="36709"/>
              <a:ext cx="0" cy="5106791"/>
            </a:xfrm>
            <a:prstGeom prst="line">
              <a:avLst/>
            </a:prstGeom>
            <a:ln w="9525">
              <a:noFill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 Verbindung 10"/>
            <p:cNvCxnSpPr/>
            <p:nvPr/>
          </p:nvCxnSpPr>
          <p:spPr>
            <a:xfrm flipV="1">
              <a:off x="182826" y="4783577"/>
              <a:ext cx="8782685" cy="1"/>
            </a:xfrm>
            <a:prstGeom prst="line">
              <a:avLst/>
            </a:prstGeom>
            <a:ln w="9525">
              <a:noFill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Gerade Verbindung 12"/>
            <p:cNvCxnSpPr/>
            <p:nvPr/>
          </p:nvCxnSpPr>
          <p:spPr>
            <a:xfrm>
              <a:off x="8776425" y="36709"/>
              <a:ext cx="0" cy="5106791"/>
            </a:xfrm>
            <a:prstGeom prst="line">
              <a:avLst/>
            </a:prstGeom>
            <a:ln w="9525">
              <a:noFill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 Verbindung 13"/>
            <p:cNvCxnSpPr/>
            <p:nvPr/>
          </p:nvCxnSpPr>
          <p:spPr>
            <a:xfrm flipV="1">
              <a:off x="812055" y="5039714"/>
              <a:ext cx="7258417" cy="1"/>
            </a:xfrm>
            <a:prstGeom prst="line">
              <a:avLst/>
            </a:prstGeom>
            <a:ln w="9525">
              <a:noFill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Gerade Verbindung 15"/>
            <p:cNvCxnSpPr/>
            <p:nvPr/>
          </p:nvCxnSpPr>
          <p:spPr>
            <a:xfrm>
              <a:off x="1351328" y="4715849"/>
              <a:ext cx="0" cy="371785"/>
            </a:xfrm>
            <a:prstGeom prst="line">
              <a:avLst/>
            </a:prstGeom>
            <a:ln w="9525">
              <a:noFill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18"/>
            <p:cNvCxnSpPr/>
            <p:nvPr/>
          </p:nvCxnSpPr>
          <p:spPr>
            <a:xfrm flipV="1">
              <a:off x="182826" y="188161"/>
              <a:ext cx="8782685" cy="1"/>
            </a:xfrm>
            <a:prstGeom prst="line">
              <a:avLst/>
            </a:prstGeom>
            <a:ln w="9525">
              <a:noFill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19"/>
            <p:cNvCxnSpPr/>
            <p:nvPr/>
          </p:nvCxnSpPr>
          <p:spPr>
            <a:xfrm>
              <a:off x="991288" y="4715849"/>
              <a:ext cx="0" cy="371785"/>
            </a:xfrm>
            <a:prstGeom prst="line">
              <a:avLst/>
            </a:prstGeom>
            <a:ln w="9525">
              <a:noFill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490100" y="387431"/>
            <a:ext cx="11211800" cy="27699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de-DE" noProof="0" dirty="0"/>
              <a:t>Titelmasterformat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90100" y="1600203"/>
            <a:ext cx="11211800" cy="45259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 dirty="0"/>
              <a:t>Textmasterformat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  <a:p>
            <a:pPr lvl="1"/>
            <a:r>
              <a:rPr lang="en-GB" noProof="0" dirty="0" err="1"/>
              <a:t>Zwei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2"/>
            <a:r>
              <a:rPr lang="en-GB" noProof="0" dirty="0" err="1"/>
              <a:t>Drit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3"/>
            <a:r>
              <a:rPr lang="en-GB" noProof="0" dirty="0" err="1"/>
              <a:t>Vier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4"/>
            <a:r>
              <a:rPr lang="en-GB" noProof="0" dirty="0" err="1"/>
              <a:t>Fünf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10486775" y="6592495"/>
            <a:ext cx="452047" cy="115416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750">
                <a:solidFill>
                  <a:schemeClr val="bg1">
                    <a:lumMod val="50000"/>
                  </a:schemeClr>
                </a:solidFill>
                <a:latin typeface="BISansCond" panose="02000006050000020004" pitchFamily="2" charset="0"/>
              </a:defRPr>
            </a:lvl1pPr>
          </a:lstStyle>
          <a:p>
            <a:fld id="{F3945ADC-88CB-46E1-9AA8-A89BE0C01ECB}" type="datetime1">
              <a:rPr lang="en-GB" smtClean="0">
                <a:solidFill>
                  <a:srgbClr val="FFFFFF">
                    <a:lumMod val="50000"/>
                  </a:srgbClr>
                </a:solidFill>
              </a:rPr>
              <a:pPr/>
              <a:t>14/12/2021</a:t>
            </a:fld>
            <a:endParaRPr lang="en-GB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801772" y="6592495"/>
            <a:ext cx="8186291" cy="11541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50">
                <a:solidFill>
                  <a:schemeClr val="bg1">
                    <a:lumMod val="50000"/>
                  </a:schemeClr>
                </a:solidFill>
                <a:latin typeface="BISansCond" panose="02000006050000020004" pitchFamily="2" charset="0"/>
              </a:defRPr>
            </a:lvl1pPr>
          </a:lstStyle>
          <a:p>
            <a:r>
              <a:rPr lang="en-US">
                <a:solidFill>
                  <a:srgbClr val="FFFFFF">
                    <a:lumMod val="50000"/>
                  </a:srgbClr>
                </a:solidFill>
              </a:rPr>
              <a:t>HP Regions - 2017 Annual Discussion</a:t>
            </a:r>
            <a:endParaRPr lang="en-GB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591294" y="6592495"/>
            <a:ext cx="110607" cy="115416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750">
                <a:solidFill>
                  <a:schemeClr val="bg1">
                    <a:lumMod val="50000"/>
                  </a:schemeClr>
                </a:solidFill>
                <a:latin typeface="BISansCond" panose="02000006050000020004" pitchFamily="2" charset="0"/>
              </a:defRPr>
            </a:lvl1pPr>
          </a:lstStyle>
          <a:p>
            <a:fld id="{143B55C4-4F5A-416B-997D-6CE47EB0A945}" type="slidenum">
              <a:rPr lang="en-GB" smtClean="0">
                <a:solidFill>
                  <a:srgbClr val="FFFFFF">
                    <a:lumMod val="50000"/>
                  </a:srgbClr>
                </a:solidFill>
              </a:rPr>
              <a:pPr/>
              <a:t>‹#›</a:t>
            </a:fld>
            <a:endParaRPr lang="en-GB" dirty="0">
              <a:solidFill>
                <a:srgbClr val="FFFFFF">
                  <a:lumMod val="50000"/>
                </a:srgbClr>
              </a:solidFill>
            </a:endParaRPr>
          </a:p>
        </p:txBody>
      </p:sp>
      <p:grpSp>
        <p:nvGrpSpPr>
          <p:cNvPr id="17" name="Gruppieren 16"/>
          <p:cNvGrpSpPr/>
          <p:nvPr/>
        </p:nvGrpSpPr>
        <p:grpSpPr>
          <a:xfrm>
            <a:off x="243775" y="48951"/>
            <a:ext cx="11710247" cy="6809055"/>
            <a:chOff x="182826" y="36709"/>
            <a:chExt cx="8782685" cy="5106791"/>
          </a:xfrm>
        </p:grpSpPr>
        <p:cxnSp>
          <p:nvCxnSpPr>
            <p:cNvPr id="18" name="Gerade Verbindung 17"/>
            <p:cNvCxnSpPr/>
            <p:nvPr/>
          </p:nvCxnSpPr>
          <p:spPr>
            <a:xfrm>
              <a:off x="367575" y="36709"/>
              <a:ext cx="0" cy="5106791"/>
            </a:xfrm>
            <a:prstGeom prst="line">
              <a:avLst/>
            </a:prstGeom>
            <a:ln w="9525">
              <a:noFill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20"/>
            <p:cNvCxnSpPr/>
            <p:nvPr/>
          </p:nvCxnSpPr>
          <p:spPr>
            <a:xfrm flipV="1">
              <a:off x="182826" y="4783577"/>
              <a:ext cx="8782685" cy="1"/>
            </a:xfrm>
            <a:prstGeom prst="line">
              <a:avLst/>
            </a:prstGeom>
            <a:ln w="9525">
              <a:noFill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 Verbindung 21"/>
            <p:cNvCxnSpPr/>
            <p:nvPr/>
          </p:nvCxnSpPr>
          <p:spPr>
            <a:xfrm>
              <a:off x="8776425" y="36709"/>
              <a:ext cx="0" cy="5106791"/>
            </a:xfrm>
            <a:prstGeom prst="line">
              <a:avLst/>
            </a:prstGeom>
            <a:ln w="9525">
              <a:noFill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23"/>
            <p:cNvCxnSpPr/>
            <p:nvPr/>
          </p:nvCxnSpPr>
          <p:spPr>
            <a:xfrm flipV="1">
              <a:off x="812055" y="5039714"/>
              <a:ext cx="7258417" cy="1"/>
            </a:xfrm>
            <a:prstGeom prst="line">
              <a:avLst/>
            </a:prstGeom>
            <a:ln w="9525">
              <a:noFill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24"/>
            <p:cNvCxnSpPr/>
            <p:nvPr/>
          </p:nvCxnSpPr>
          <p:spPr>
            <a:xfrm>
              <a:off x="1351328" y="4715849"/>
              <a:ext cx="0" cy="371785"/>
            </a:xfrm>
            <a:prstGeom prst="line">
              <a:avLst/>
            </a:prstGeom>
            <a:ln w="9525">
              <a:noFill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 Verbindung 25"/>
            <p:cNvCxnSpPr/>
            <p:nvPr/>
          </p:nvCxnSpPr>
          <p:spPr>
            <a:xfrm flipV="1">
              <a:off x="182826" y="188161"/>
              <a:ext cx="8782685" cy="1"/>
            </a:xfrm>
            <a:prstGeom prst="line">
              <a:avLst/>
            </a:prstGeom>
            <a:ln w="9525">
              <a:noFill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26"/>
            <p:cNvCxnSpPr/>
            <p:nvPr/>
          </p:nvCxnSpPr>
          <p:spPr>
            <a:xfrm>
              <a:off x="991288" y="4715849"/>
              <a:ext cx="0" cy="371785"/>
            </a:xfrm>
            <a:prstGeom prst="line">
              <a:avLst/>
            </a:prstGeom>
            <a:ln w="9525">
              <a:noFill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31" name="Grafik 30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5924" y="6578961"/>
            <a:ext cx="840360" cy="1905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79680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60" r:id="rId1"/>
    <p:sldLayoutId id="2147484261" r:id="rId2"/>
    <p:sldLayoutId id="2147484262" r:id="rId3"/>
    <p:sldLayoutId id="2147484263" r:id="rId4"/>
    <p:sldLayoutId id="2147484264" r:id="rId5"/>
    <p:sldLayoutId id="2147484265" r:id="rId6"/>
    <p:sldLayoutId id="2147484267" r:id="rId7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685783" rtl="0" eaLnBrk="1" latinLnBrk="0" hangingPunct="1">
        <a:spcBef>
          <a:spcPct val="0"/>
        </a:spcBef>
        <a:buNone/>
        <a:defRPr sz="1800" kern="1200">
          <a:solidFill>
            <a:srgbClr val="003366"/>
          </a:solidFill>
          <a:latin typeface="+mj-lt"/>
          <a:ea typeface="+mj-ea"/>
          <a:cs typeface="+mj-cs"/>
        </a:defRPr>
      </a:lvl1pPr>
    </p:titleStyle>
    <p:bodyStyle>
      <a:lvl1pPr marL="200020" indent="-200020" algn="l" defTabSz="685783" rtl="0" eaLnBrk="1" latinLnBrk="0" hangingPunct="1">
        <a:spcBef>
          <a:spcPts val="3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38129" indent="-138110" algn="l" defTabSz="685783" rtl="0" eaLnBrk="1" latinLnBrk="0" hangingPunct="1">
        <a:spcBef>
          <a:spcPts val="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471476" indent="-133347" algn="l" defTabSz="685783" rtl="0" eaLnBrk="1" latinLnBrk="0" hangingPunct="1">
        <a:spcBef>
          <a:spcPts val="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604823" indent="-133347" algn="l" defTabSz="685783" rtl="0" eaLnBrk="1" latinLnBrk="0" hangingPunct="1">
        <a:spcBef>
          <a:spcPts val="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738170" indent="-133347" algn="l" defTabSz="685783" rtl="0" eaLnBrk="1" latinLnBrk="0" hangingPunct="1">
        <a:spcBef>
          <a:spcPts val="0"/>
        </a:spcBef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03" indent="-171446" algn="l" defTabSz="685783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795" indent="-171446" algn="l" defTabSz="685783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686" indent="-171446" algn="l" defTabSz="685783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77" indent="-171446" algn="l" defTabSz="685783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9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5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8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2122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216" imgH="216" progId="TCLayout.ActiveDocument.1">
                  <p:embed/>
                </p:oleObj>
              </mc:Choice>
              <mc:Fallback>
                <p:oleObj name="think-cell Slide" r:id="rId11" imgW="216" imgH="216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2122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矩形 7" hidden="1"/>
          <p:cNvSpPr/>
          <p:nvPr userDrawn="1">
            <p:custDataLst>
              <p:tags r:id="rId10"/>
            </p:custDataLst>
          </p:nvPr>
        </p:nvSpPr>
        <p:spPr>
          <a:xfrm>
            <a:off x="1" y="1"/>
            <a:ext cx="211667" cy="211667"/>
          </a:xfrm>
          <a:prstGeom prst="rect">
            <a:avLst/>
          </a:prstGeom>
          <a:solidFill>
            <a:schemeClr val="bg1"/>
          </a:solidFill>
          <a:ln w="12700">
            <a:solidFill>
              <a:srgbClr val="00336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altLang="zh-CN" sz="2400" b="0" i="0" baseline="0" dirty="0">
              <a:solidFill>
                <a:schemeClr val="tx1"/>
              </a:solidFill>
              <a:latin typeface="BISansCond" panose="02000006050000020004" pitchFamily="2" charset="0"/>
              <a:ea typeface="+mj-ea"/>
              <a:cs typeface="+mj-cs"/>
              <a:sym typeface="BISansCond" panose="02000006050000020004" pitchFamily="2" charset="0"/>
            </a:endParaRPr>
          </a:p>
        </p:txBody>
      </p:sp>
      <p:grpSp>
        <p:nvGrpSpPr>
          <p:cNvPr id="23" name="Gruppieren 22"/>
          <p:cNvGrpSpPr/>
          <p:nvPr/>
        </p:nvGrpSpPr>
        <p:grpSpPr>
          <a:xfrm>
            <a:off x="243775" y="48950"/>
            <a:ext cx="11710247" cy="6809055"/>
            <a:chOff x="182826" y="36709"/>
            <a:chExt cx="8782685" cy="5106791"/>
          </a:xfrm>
        </p:grpSpPr>
        <p:cxnSp>
          <p:nvCxnSpPr>
            <p:cNvPr id="9" name="Gerade Verbindung 8"/>
            <p:cNvCxnSpPr/>
            <p:nvPr/>
          </p:nvCxnSpPr>
          <p:spPr>
            <a:xfrm>
              <a:off x="367575" y="36709"/>
              <a:ext cx="0" cy="5106791"/>
            </a:xfrm>
            <a:prstGeom prst="line">
              <a:avLst/>
            </a:prstGeom>
            <a:ln w="9525">
              <a:noFill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 Verbindung 10"/>
            <p:cNvCxnSpPr/>
            <p:nvPr/>
          </p:nvCxnSpPr>
          <p:spPr>
            <a:xfrm flipV="1">
              <a:off x="182826" y="4783577"/>
              <a:ext cx="8782685" cy="1"/>
            </a:xfrm>
            <a:prstGeom prst="line">
              <a:avLst/>
            </a:prstGeom>
            <a:ln w="9525">
              <a:noFill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Gerade Verbindung 12"/>
            <p:cNvCxnSpPr/>
            <p:nvPr/>
          </p:nvCxnSpPr>
          <p:spPr>
            <a:xfrm>
              <a:off x="8776425" y="36709"/>
              <a:ext cx="0" cy="5106791"/>
            </a:xfrm>
            <a:prstGeom prst="line">
              <a:avLst/>
            </a:prstGeom>
            <a:ln w="9525">
              <a:noFill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 Verbindung 13"/>
            <p:cNvCxnSpPr/>
            <p:nvPr/>
          </p:nvCxnSpPr>
          <p:spPr>
            <a:xfrm flipV="1">
              <a:off x="812055" y="5039714"/>
              <a:ext cx="7258417" cy="1"/>
            </a:xfrm>
            <a:prstGeom prst="line">
              <a:avLst/>
            </a:prstGeom>
            <a:ln w="9525">
              <a:noFill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Gerade Verbindung 15"/>
            <p:cNvCxnSpPr/>
            <p:nvPr/>
          </p:nvCxnSpPr>
          <p:spPr>
            <a:xfrm>
              <a:off x="1351328" y="4715849"/>
              <a:ext cx="0" cy="371785"/>
            </a:xfrm>
            <a:prstGeom prst="line">
              <a:avLst/>
            </a:prstGeom>
            <a:ln w="9525">
              <a:noFill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18"/>
            <p:cNvCxnSpPr/>
            <p:nvPr/>
          </p:nvCxnSpPr>
          <p:spPr>
            <a:xfrm flipV="1">
              <a:off x="182826" y="188161"/>
              <a:ext cx="8782685" cy="1"/>
            </a:xfrm>
            <a:prstGeom prst="line">
              <a:avLst/>
            </a:prstGeom>
            <a:ln w="9525">
              <a:noFill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19"/>
            <p:cNvCxnSpPr/>
            <p:nvPr/>
          </p:nvCxnSpPr>
          <p:spPr>
            <a:xfrm>
              <a:off x="991288" y="4715849"/>
              <a:ext cx="0" cy="371785"/>
            </a:xfrm>
            <a:prstGeom prst="line">
              <a:avLst/>
            </a:prstGeom>
            <a:ln w="9525">
              <a:noFill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490100" y="387431"/>
            <a:ext cx="11211800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de-DE" noProof="0" dirty="0"/>
              <a:t>Titelmasterformat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90100" y="1600201"/>
            <a:ext cx="11211800" cy="45259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 dirty="0"/>
              <a:t>Textmasterformat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  <a:p>
            <a:pPr lvl="1"/>
            <a:r>
              <a:rPr lang="en-GB" noProof="0" dirty="0" err="1"/>
              <a:t>Zwei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2"/>
            <a:r>
              <a:rPr lang="en-GB" noProof="0" dirty="0" err="1"/>
              <a:t>Drit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3"/>
            <a:r>
              <a:rPr lang="en-GB" noProof="0" dirty="0" err="1"/>
              <a:t>Vier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4"/>
            <a:r>
              <a:rPr lang="en-GB" noProof="0" dirty="0" err="1"/>
              <a:t>Fünf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10336093" y="6573259"/>
            <a:ext cx="602729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BISansCond" panose="02000006050000020004" pitchFamily="2" charset="0"/>
              </a:defRPr>
            </a:lvl1pPr>
          </a:lstStyle>
          <a:p>
            <a:fld id="{F3945ADC-88CB-46E1-9AA8-A89BE0C01ECB}" type="datetime1">
              <a:rPr lang="en-GB" smtClean="0">
                <a:solidFill>
                  <a:srgbClr val="FFFFFF">
                    <a:lumMod val="50000"/>
                  </a:srgbClr>
                </a:solidFill>
              </a:rPr>
              <a:pPr/>
              <a:t>14/12/2021</a:t>
            </a:fld>
            <a:endParaRPr lang="en-GB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801772" y="6573259"/>
            <a:ext cx="8186291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0">
                <a:solidFill>
                  <a:schemeClr val="bg1">
                    <a:lumMod val="50000"/>
                  </a:schemeClr>
                </a:solidFill>
                <a:latin typeface="BISansCond" panose="02000006050000020004" pitchFamily="2" charset="0"/>
              </a:defRPr>
            </a:lvl1pPr>
          </a:lstStyle>
          <a:p>
            <a:r>
              <a:rPr lang="en-US" dirty="0">
                <a:solidFill>
                  <a:srgbClr val="FFFFFF">
                    <a:lumMod val="50000"/>
                  </a:srgbClr>
                </a:solidFill>
              </a:rPr>
              <a:t>HP Regions - 2017 Annual Discussion</a:t>
            </a:r>
            <a:endParaRPr lang="en-GB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554426" y="6573259"/>
            <a:ext cx="147476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BISansCond" panose="02000006050000020004" pitchFamily="2" charset="0"/>
              </a:defRPr>
            </a:lvl1pPr>
          </a:lstStyle>
          <a:p>
            <a:fld id="{143B55C4-4F5A-416B-997D-6CE47EB0A945}" type="slidenum">
              <a:rPr lang="en-GB" smtClean="0">
                <a:solidFill>
                  <a:srgbClr val="FFFFFF">
                    <a:lumMod val="50000"/>
                  </a:srgbClr>
                </a:solidFill>
              </a:rPr>
              <a:pPr/>
              <a:t>‹#›</a:t>
            </a:fld>
            <a:endParaRPr lang="en-GB" dirty="0">
              <a:solidFill>
                <a:srgbClr val="FFFFFF">
                  <a:lumMod val="50000"/>
                </a:srgbClr>
              </a:solidFill>
            </a:endParaRPr>
          </a:p>
        </p:txBody>
      </p:sp>
      <p:grpSp>
        <p:nvGrpSpPr>
          <p:cNvPr id="17" name="Gruppieren 16"/>
          <p:cNvGrpSpPr/>
          <p:nvPr/>
        </p:nvGrpSpPr>
        <p:grpSpPr>
          <a:xfrm>
            <a:off x="243775" y="48950"/>
            <a:ext cx="11710247" cy="6809055"/>
            <a:chOff x="182826" y="36709"/>
            <a:chExt cx="8782685" cy="5106791"/>
          </a:xfrm>
        </p:grpSpPr>
        <p:cxnSp>
          <p:nvCxnSpPr>
            <p:cNvPr id="18" name="Gerade Verbindung 17"/>
            <p:cNvCxnSpPr/>
            <p:nvPr/>
          </p:nvCxnSpPr>
          <p:spPr>
            <a:xfrm>
              <a:off x="367575" y="36709"/>
              <a:ext cx="0" cy="5106791"/>
            </a:xfrm>
            <a:prstGeom prst="line">
              <a:avLst/>
            </a:prstGeom>
            <a:ln w="9525">
              <a:noFill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20"/>
            <p:cNvCxnSpPr/>
            <p:nvPr/>
          </p:nvCxnSpPr>
          <p:spPr>
            <a:xfrm flipV="1">
              <a:off x="182826" y="4783577"/>
              <a:ext cx="8782685" cy="1"/>
            </a:xfrm>
            <a:prstGeom prst="line">
              <a:avLst/>
            </a:prstGeom>
            <a:ln w="9525">
              <a:noFill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 Verbindung 21"/>
            <p:cNvCxnSpPr/>
            <p:nvPr/>
          </p:nvCxnSpPr>
          <p:spPr>
            <a:xfrm>
              <a:off x="8776425" y="36709"/>
              <a:ext cx="0" cy="5106791"/>
            </a:xfrm>
            <a:prstGeom prst="line">
              <a:avLst/>
            </a:prstGeom>
            <a:ln w="9525">
              <a:noFill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23"/>
            <p:cNvCxnSpPr/>
            <p:nvPr/>
          </p:nvCxnSpPr>
          <p:spPr>
            <a:xfrm flipV="1">
              <a:off x="812055" y="5039714"/>
              <a:ext cx="7258417" cy="1"/>
            </a:xfrm>
            <a:prstGeom prst="line">
              <a:avLst/>
            </a:prstGeom>
            <a:ln w="9525">
              <a:noFill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24"/>
            <p:cNvCxnSpPr/>
            <p:nvPr/>
          </p:nvCxnSpPr>
          <p:spPr>
            <a:xfrm>
              <a:off x="1351328" y="4715849"/>
              <a:ext cx="0" cy="371785"/>
            </a:xfrm>
            <a:prstGeom prst="line">
              <a:avLst/>
            </a:prstGeom>
            <a:ln w="9525">
              <a:noFill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 Verbindung 25"/>
            <p:cNvCxnSpPr/>
            <p:nvPr/>
          </p:nvCxnSpPr>
          <p:spPr>
            <a:xfrm flipV="1">
              <a:off x="182826" y="188161"/>
              <a:ext cx="8782685" cy="1"/>
            </a:xfrm>
            <a:prstGeom prst="line">
              <a:avLst/>
            </a:prstGeom>
            <a:ln w="9525">
              <a:noFill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26"/>
            <p:cNvCxnSpPr/>
            <p:nvPr/>
          </p:nvCxnSpPr>
          <p:spPr>
            <a:xfrm>
              <a:off x="991288" y="4715849"/>
              <a:ext cx="0" cy="371785"/>
            </a:xfrm>
            <a:prstGeom prst="line">
              <a:avLst/>
            </a:prstGeom>
            <a:ln w="9525">
              <a:noFill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31" name="Grafik 30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5924" y="6578961"/>
            <a:ext cx="840360" cy="1905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43763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42" r:id="rId1"/>
    <p:sldLayoutId id="2147484343" r:id="rId2"/>
    <p:sldLayoutId id="2147484344" r:id="rId3"/>
    <p:sldLayoutId id="2147484345" r:id="rId4"/>
    <p:sldLayoutId id="2147484346" r:id="rId5"/>
    <p:sldLayoutId id="2147484347" r:id="rId6"/>
    <p:sldLayoutId id="2147484349" r:id="rId7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354" rtl="0" eaLnBrk="1" latinLnBrk="0" hangingPunct="1">
        <a:spcBef>
          <a:spcPct val="0"/>
        </a:spcBef>
        <a:buNone/>
        <a:defRPr sz="2400" kern="1200">
          <a:solidFill>
            <a:srgbClr val="003366"/>
          </a:solidFill>
          <a:latin typeface="+mj-lt"/>
          <a:ea typeface="+mj-ea"/>
          <a:cs typeface="+mj-cs"/>
        </a:defRPr>
      </a:lvl1pPr>
    </p:titleStyle>
    <p:bodyStyle>
      <a:lvl1pPr marL="266687" indent="-266687" algn="l" defTabSz="914354" rtl="0" eaLnBrk="1" latinLnBrk="0" hangingPunct="1">
        <a:spcBef>
          <a:spcPts val="4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450827" indent="-184142" algn="l" defTabSz="914354" rtl="0" eaLnBrk="1" latinLnBrk="0" hangingPunct="1">
        <a:spcBef>
          <a:spcPts val="0"/>
        </a:spcBef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628619" indent="-177792" algn="l" defTabSz="914354" rtl="0" eaLnBrk="1" latinLnBrk="0" hangingPunct="1">
        <a:spcBef>
          <a:spcPts val="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806411" indent="-177792" algn="l" defTabSz="914354" rtl="0" eaLnBrk="1" latinLnBrk="0" hangingPunct="1">
        <a:spcBef>
          <a:spcPts val="0"/>
        </a:spcBef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984202" indent="-177792" algn="l" defTabSz="914354" rtl="0" eaLnBrk="1" latinLnBrk="0" hangingPunct="1">
        <a:spcBef>
          <a:spcPts val="0"/>
        </a:spcBef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4930" name="Rectangle 2"/>
          <p:cNvSpPr>
            <a:spLocks noChangeArrowheads="1"/>
          </p:cNvSpPr>
          <p:nvPr/>
        </p:nvSpPr>
        <p:spPr bwMode="auto">
          <a:xfrm>
            <a:off x="0" y="1"/>
            <a:ext cx="12192000" cy="989013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4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2493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78367" y="1258889"/>
            <a:ext cx="11245851" cy="48656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err="1"/>
              <a:t>Klicken</a:t>
            </a:r>
            <a:r>
              <a:rPr lang="en-US" dirty="0"/>
              <a:t> </a:t>
            </a:r>
            <a:r>
              <a:rPr lang="en-US" dirty="0" err="1"/>
              <a:t>Sie</a:t>
            </a:r>
            <a:r>
              <a:rPr lang="en-US" dirty="0"/>
              <a:t>, um die </a:t>
            </a:r>
            <a:r>
              <a:rPr lang="en-US" dirty="0" err="1"/>
              <a:t>Formate</a:t>
            </a:r>
            <a:r>
              <a:rPr lang="en-US" dirty="0"/>
              <a:t> des </a:t>
            </a:r>
            <a:r>
              <a:rPr lang="en-US" dirty="0" err="1"/>
              <a:t>Vorlagentextes</a:t>
            </a:r>
            <a:r>
              <a:rPr lang="en-US" dirty="0"/>
              <a:t> </a:t>
            </a:r>
            <a:r>
              <a:rPr lang="en-US" dirty="0" err="1"/>
              <a:t>zu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 err="1"/>
              <a:t>Ers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2"/>
            <a:r>
              <a:rPr lang="en-US" dirty="0" err="1"/>
              <a:t>Zwei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3"/>
            <a:r>
              <a:rPr lang="en-US" dirty="0" err="1"/>
              <a:t>Drit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4"/>
            <a:r>
              <a:rPr lang="en-US" dirty="0" err="1"/>
              <a:t>Vier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0"/>
            <a:r>
              <a:rPr lang="en-US" dirty="0" err="1"/>
              <a:t>Klicken</a:t>
            </a:r>
            <a:r>
              <a:rPr lang="en-US" dirty="0"/>
              <a:t> </a:t>
            </a:r>
            <a:r>
              <a:rPr lang="en-US" dirty="0" err="1"/>
              <a:t>Sie</a:t>
            </a:r>
            <a:r>
              <a:rPr lang="en-US" dirty="0"/>
              <a:t>, um die </a:t>
            </a:r>
            <a:r>
              <a:rPr lang="en-US" dirty="0" err="1"/>
              <a:t>Formate</a:t>
            </a:r>
            <a:r>
              <a:rPr lang="en-US" dirty="0"/>
              <a:t> des </a:t>
            </a:r>
            <a:r>
              <a:rPr lang="en-US" dirty="0" err="1"/>
              <a:t>Vorlagentextes</a:t>
            </a:r>
            <a:r>
              <a:rPr lang="en-US" dirty="0"/>
              <a:t> </a:t>
            </a:r>
            <a:r>
              <a:rPr lang="en-US" dirty="0" err="1"/>
              <a:t>zu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</p:txBody>
      </p:sp>
      <p:sp>
        <p:nvSpPr>
          <p:cNvPr id="124932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78367" y="107951"/>
            <a:ext cx="8997951" cy="881063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err="1"/>
              <a:t>Klicken</a:t>
            </a:r>
            <a:r>
              <a:rPr lang="en-US" dirty="0"/>
              <a:t> </a:t>
            </a:r>
            <a:r>
              <a:rPr lang="en-US" dirty="0" err="1"/>
              <a:t>Sie</a:t>
            </a:r>
            <a:r>
              <a:rPr lang="en-US" dirty="0"/>
              <a:t>, um das </a:t>
            </a:r>
            <a:r>
              <a:rPr lang="en-US" dirty="0" err="1"/>
              <a:t>Titelformat</a:t>
            </a:r>
            <a:r>
              <a:rPr lang="en-US" dirty="0"/>
              <a:t> </a:t>
            </a:r>
            <a:r>
              <a:rPr lang="en-US" dirty="0" err="1"/>
              <a:t>zu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</p:txBody>
      </p:sp>
      <p:sp>
        <p:nvSpPr>
          <p:cNvPr id="124933" name="Rectangle 5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10238318" y="6451600"/>
            <a:ext cx="1485900" cy="179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000">
                <a:solidFill>
                  <a:srgbClr val="000000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cs typeface="Arial" pitchFamily="34" charset="0"/>
            </a:endParaRPr>
          </a:p>
        </p:txBody>
      </p:sp>
      <p:sp>
        <p:nvSpPr>
          <p:cNvPr id="124934" name="Rectangle 6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78367" y="6423026"/>
            <a:ext cx="8638117" cy="3603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eaLnBrk="1" hangingPunct="1">
              <a:defRPr sz="1000">
                <a:solidFill>
                  <a:srgbClr val="000000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cs typeface="Arial" pitchFamily="34" charset="0"/>
              </a:rPr>
              <a:t> Business Review Template - Confidential</a:t>
            </a:r>
          </a:p>
        </p:txBody>
      </p:sp>
      <p:pic>
        <p:nvPicPr>
          <p:cNvPr id="124935" name="Picture 7" descr="BI-Logo_36pt_blue_neg"/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757834" y="179388"/>
            <a:ext cx="1947333" cy="449262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2884928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  <p:sldLayoutId id="2147483669" r:id="rId2"/>
    <p:sldLayoutId id="2147483670" r:id="rId3"/>
    <p:sldLayoutId id="2147483671" r:id="rId4"/>
  </p:sldLayoutIdLst>
  <p:transition spd="med"/>
  <p:hf sldNum="0"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Calibri" pitchFamily="34" charset="0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BISansCond" pitchFamily="2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BISansCond" pitchFamily="2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BISansCond" pitchFamily="2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BISansCond" pitchFamily="2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BISansCond" pitchFamily="2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BISansCond" pitchFamily="2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BISansCond" pitchFamily="2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BISansCond" pitchFamily="2" charset="0"/>
        </a:defRPr>
      </a:lvl9pPr>
    </p:titleStyle>
    <p:bodyStyle>
      <a:lvl1pPr algn="l" defTabSz="8610600" rtl="0" eaLnBrk="1" fontAlgn="base" hangingPunct="1">
        <a:spcBef>
          <a:spcPct val="0"/>
        </a:spcBef>
        <a:spcAft>
          <a:spcPct val="0"/>
        </a:spcAft>
        <a:buClr>
          <a:schemeClr val="folHlink"/>
        </a:buClr>
        <a:buFont typeface="Wingdings" pitchFamily="2" charset="2"/>
        <a:defRPr sz="2000">
          <a:solidFill>
            <a:schemeClr val="tx1"/>
          </a:solidFill>
          <a:latin typeface="Calibri" pitchFamily="34" charset="0"/>
          <a:ea typeface="+mn-ea"/>
          <a:cs typeface="+mn-cs"/>
        </a:defRPr>
      </a:lvl1pPr>
      <a:lvl2pPr marL="276225" indent="-274638" algn="l" defTabSz="8610600" rtl="0" eaLnBrk="1" fontAlgn="base" hangingPunct="1">
        <a:spcBef>
          <a:spcPct val="0"/>
        </a:spcBef>
        <a:spcAft>
          <a:spcPct val="0"/>
        </a:spcAft>
        <a:buClr>
          <a:schemeClr val="accent1"/>
        </a:buClr>
        <a:buChar char="•"/>
        <a:defRPr sz="2000">
          <a:solidFill>
            <a:schemeClr val="tx1"/>
          </a:solidFill>
          <a:latin typeface="Calibri" pitchFamily="34" charset="0"/>
        </a:defRPr>
      </a:lvl2pPr>
      <a:lvl3pPr marL="542925" indent="-265113" algn="l" defTabSz="8610600" rtl="0" eaLnBrk="1" fontAlgn="base" hangingPunct="1">
        <a:spcBef>
          <a:spcPct val="0"/>
        </a:spcBef>
        <a:spcAft>
          <a:spcPct val="0"/>
        </a:spcAft>
        <a:buClr>
          <a:schemeClr val="accent1"/>
        </a:buClr>
        <a:buFont typeface="BISansCond" pitchFamily="2" charset="0"/>
        <a:buChar char="–"/>
        <a:defRPr sz="2000">
          <a:solidFill>
            <a:schemeClr val="tx1"/>
          </a:solidFill>
          <a:latin typeface="Calibri" pitchFamily="34" charset="0"/>
        </a:defRPr>
      </a:lvl3pPr>
      <a:lvl4pPr marL="819150" indent="-274638" algn="l" defTabSz="8610600" rtl="0" eaLnBrk="1" fontAlgn="base" hangingPunct="1">
        <a:spcBef>
          <a:spcPct val="0"/>
        </a:spcBef>
        <a:spcAft>
          <a:spcPct val="0"/>
        </a:spcAft>
        <a:buClr>
          <a:schemeClr val="accent1"/>
        </a:buClr>
        <a:buFont typeface="BISansCond" pitchFamily="2" charset="0"/>
        <a:buChar char="–"/>
        <a:defRPr sz="2000">
          <a:solidFill>
            <a:schemeClr val="tx1"/>
          </a:solidFill>
          <a:latin typeface="Calibri" pitchFamily="34" charset="0"/>
        </a:defRPr>
      </a:lvl4pPr>
      <a:lvl5pPr marL="1085850" indent="-265113" algn="l" defTabSz="8610600" rtl="0" eaLnBrk="1" fontAlgn="base" hangingPunct="1">
        <a:spcBef>
          <a:spcPct val="0"/>
        </a:spcBef>
        <a:spcAft>
          <a:spcPct val="0"/>
        </a:spcAft>
        <a:buClr>
          <a:schemeClr val="accent1"/>
        </a:buClr>
        <a:buFont typeface="BISansCond" pitchFamily="2" charset="0"/>
        <a:buChar char="–"/>
        <a:defRPr sz="2000">
          <a:solidFill>
            <a:schemeClr val="tx1"/>
          </a:solidFill>
          <a:latin typeface="Calibri" pitchFamily="34" charset="0"/>
        </a:defRPr>
      </a:lvl5pPr>
      <a:lvl6pPr marL="1543050" indent="-265113" algn="l" defTabSz="8610600" rtl="0" eaLnBrk="1" fontAlgn="base" hangingPunct="1">
        <a:spcBef>
          <a:spcPct val="0"/>
        </a:spcBef>
        <a:spcAft>
          <a:spcPct val="0"/>
        </a:spcAft>
        <a:buFont typeface="BISansCond" pitchFamily="2" charset="0"/>
        <a:buChar char="–"/>
        <a:defRPr sz="2000">
          <a:solidFill>
            <a:schemeClr val="tx1"/>
          </a:solidFill>
          <a:latin typeface="+mn-lt"/>
        </a:defRPr>
      </a:lvl6pPr>
      <a:lvl7pPr marL="2000250" indent="-265113" algn="l" defTabSz="8610600" rtl="0" eaLnBrk="1" fontAlgn="base" hangingPunct="1">
        <a:spcBef>
          <a:spcPct val="0"/>
        </a:spcBef>
        <a:spcAft>
          <a:spcPct val="0"/>
        </a:spcAft>
        <a:buFont typeface="BISansCond" pitchFamily="2" charset="0"/>
        <a:buChar char="–"/>
        <a:defRPr sz="2000">
          <a:solidFill>
            <a:schemeClr val="tx1"/>
          </a:solidFill>
          <a:latin typeface="+mn-lt"/>
        </a:defRPr>
      </a:lvl7pPr>
      <a:lvl8pPr marL="2457450" indent="-265113" algn="l" defTabSz="8610600" rtl="0" eaLnBrk="1" fontAlgn="base" hangingPunct="1">
        <a:spcBef>
          <a:spcPct val="0"/>
        </a:spcBef>
        <a:spcAft>
          <a:spcPct val="0"/>
        </a:spcAft>
        <a:buFont typeface="BISansCond" pitchFamily="2" charset="0"/>
        <a:buChar char="–"/>
        <a:defRPr sz="2000">
          <a:solidFill>
            <a:schemeClr val="tx1"/>
          </a:solidFill>
          <a:latin typeface="+mn-lt"/>
        </a:defRPr>
      </a:lvl8pPr>
      <a:lvl9pPr marL="2914650" indent="-265113" algn="l" defTabSz="8610600" rtl="0" eaLnBrk="1" fontAlgn="base" hangingPunct="1">
        <a:spcBef>
          <a:spcPct val="0"/>
        </a:spcBef>
        <a:spcAft>
          <a:spcPct val="0"/>
        </a:spcAft>
        <a:buFont typeface="BISansCond" pitchFamily="2" charset="0"/>
        <a:buChar char="–"/>
        <a:defRPr sz="20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178" name="Rectangle 2"/>
          <p:cNvSpPr>
            <a:spLocks noChangeArrowheads="1"/>
          </p:cNvSpPr>
          <p:nvPr/>
        </p:nvSpPr>
        <p:spPr bwMode="auto">
          <a:xfrm>
            <a:off x="0" y="1"/>
            <a:ext cx="12192000" cy="989013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altLang="zh-TW" sz="1400" dirty="0">
              <a:solidFill>
                <a:srgbClr val="000000"/>
              </a:solidFill>
              <a:ea typeface="新細明體" charset="-120"/>
              <a:cs typeface="Arial" pitchFamily="34" charset="0"/>
            </a:endParaRPr>
          </a:p>
        </p:txBody>
      </p:sp>
      <p:sp>
        <p:nvSpPr>
          <p:cNvPr id="5017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78367" y="1258889"/>
            <a:ext cx="11245851" cy="48656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TW"/>
              <a:t>Klicken Sie, um die Formate des Vorlagentextes zu bearbeiten</a:t>
            </a:r>
          </a:p>
          <a:p>
            <a:pPr lvl="1"/>
            <a:r>
              <a:rPr lang="en-US" altLang="zh-TW"/>
              <a:t>Erste Ebene</a:t>
            </a:r>
          </a:p>
          <a:p>
            <a:pPr lvl="2"/>
            <a:r>
              <a:rPr lang="en-US" altLang="zh-TW"/>
              <a:t>Zweite Ebene</a:t>
            </a:r>
          </a:p>
          <a:p>
            <a:pPr lvl="3"/>
            <a:r>
              <a:rPr lang="en-US" altLang="zh-TW"/>
              <a:t>Dritte Ebene</a:t>
            </a:r>
          </a:p>
          <a:p>
            <a:pPr lvl="4"/>
            <a:r>
              <a:rPr lang="en-US" altLang="zh-TW"/>
              <a:t>Vierte Ebene</a:t>
            </a:r>
          </a:p>
          <a:p>
            <a:pPr lvl="0"/>
            <a:r>
              <a:rPr lang="en-US" altLang="zh-TW"/>
              <a:t>Klicken Sie, um die Formate des Vorlagentextes zu bearbeiten</a:t>
            </a:r>
          </a:p>
        </p:txBody>
      </p:sp>
      <p:sp>
        <p:nvSpPr>
          <p:cNvPr id="50180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78367" y="107951"/>
            <a:ext cx="8997951" cy="881063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TW"/>
              <a:t>Klicken Sie, um das Titelformat zu bearbeiten</a:t>
            </a:r>
          </a:p>
        </p:txBody>
      </p:sp>
      <p:sp>
        <p:nvSpPr>
          <p:cNvPr id="124933" name="Rectangle 5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10238318" y="6451600"/>
            <a:ext cx="1485900" cy="179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r">
              <a:defRPr sz="1000">
                <a:solidFill>
                  <a:srgbClr val="000000"/>
                </a:solidFill>
                <a:latin typeface="BISansCond" pitchFamily="2" charset="0"/>
                <a:ea typeface="新細明體" pitchFamily="18" charset="-12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zh-TW" dirty="0">
              <a:cs typeface="Arial" pitchFamily="34" charset="0"/>
            </a:endParaRPr>
          </a:p>
        </p:txBody>
      </p:sp>
      <p:sp>
        <p:nvSpPr>
          <p:cNvPr id="124934" name="Rectangle 6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78367" y="6423026"/>
            <a:ext cx="8638117" cy="3603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eaLnBrk="1" hangingPunct="1">
              <a:defRPr sz="1000">
                <a:solidFill>
                  <a:srgbClr val="000000"/>
                </a:solidFill>
                <a:latin typeface="BISansCond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dirty="0">
                <a:cs typeface="Arial" pitchFamily="34" charset="0"/>
              </a:rPr>
              <a:t> Business Review Template - Confidential</a:t>
            </a:r>
          </a:p>
        </p:txBody>
      </p:sp>
      <p:pic>
        <p:nvPicPr>
          <p:cNvPr id="50183" name="Picture 7" descr="BI-Logo_36pt_blue_ne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57834" y="179388"/>
            <a:ext cx="1947333" cy="449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088600280"/>
      </p:ext>
    </p:extLst>
  </p:cSld>
  <p:clrMap bg1="lt1" tx1="dk1" bg2="lt2" tx2="dk2" accent1="accent1" accent2="accent2" accent3="accent3" accent4="accent4" accent5="accent5" accent6="accent6" hlink="hlink" folHlink="folHlink"/>
  <p:transition spd="med"/>
  <p:hf sldNum="0"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Calibri" pitchFamily="34" charset="0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Calibri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Calibri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Calibri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Calibri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BISansCond" pitchFamily="2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BISansCond" pitchFamily="2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BISansCond" pitchFamily="2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BISansCond" pitchFamily="2" charset="0"/>
        </a:defRPr>
      </a:lvl9pPr>
    </p:titleStyle>
    <p:bodyStyle>
      <a:lvl1pPr marL="342900" indent="-342900" algn="l" defTabSz="8610600" rtl="0" eaLnBrk="0" fontAlgn="base" hangingPunct="0">
        <a:spcBef>
          <a:spcPct val="0"/>
        </a:spcBef>
        <a:spcAft>
          <a:spcPct val="0"/>
        </a:spcAft>
        <a:buClr>
          <a:schemeClr val="folHlink"/>
        </a:buClr>
        <a:buFont typeface="Wingdings" pitchFamily="2" charset="2"/>
        <a:defRPr sz="2000">
          <a:solidFill>
            <a:schemeClr val="tx1"/>
          </a:solidFill>
          <a:latin typeface="Calibri" pitchFamily="34" charset="0"/>
          <a:ea typeface="+mn-ea"/>
          <a:cs typeface="+mn-cs"/>
        </a:defRPr>
      </a:lvl1pPr>
      <a:lvl2pPr marL="276225" indent="-274638" algn="l" defTabSz="8610600" rtl="0" eaLnBrk="0" fontAlgn="base" hangingPunct="0">
        <a:spcBef>
          <a:spcPct val="0"/>
        </a:spcBef>
        <a:spcAft>
          <a:spcPct val="0"/>
        </a:spcAft>
        <a:buClr>
          <a:schemeClr val="accent1"/>
        </a:buClr>
        <a:buChar char="•"/>
        <a:defRPr sz="2000">
          <a:solidFill>
            <a:schemeClr val="tx1"/>
          </a:solidFill>
          <a:latin typeface="Calibri" pitchFamily="34" charset="0"/>
        </a:defRPr>
      </a:lvl2pPr>
      <a:lvl3pPr marL="542925" indent="-265113" algn="l" defTabSz="8610600" rtl="0" eaLnBrk="0" fontAlgn="base" hangingPunct="0">
        <a:spcBef>
          <a:spcPct val="0"/>
        </a:spcBef>
        <a:spcAft>
          <a:spcPct val="0"/>
        </a:spcAft>
        <a:buClr>
          <a:schemeClr val="accent1"/>
        </a:buClr>
        <a:buFont typeface="BISansCond" pitchFamily="2" charset="0"/>
        <a:buChar char="–"/>
        <a:defRPr sz="2000">
          <a:solidFill>
            <a:schemeClr val="tx1"/>
          </a:solidFill>
          <a:latin typeface="Calibri" pitchFamily="34" charset="0"/>
        </a:defRPr>
      </a:lvl3pPr>
      <a:lvl4pPr marL="819150" indent="-274638" algn="l" defTabSz="8610600" rtl="0" eaLnBrk="0" fontAlgn="base" hangingPunct="0">
        <a:spcBef>
          <a:spcPct val="0"/>
        </a:spcBef>
        <a:spcAft>
          <a:spcPct val="0"/>
        </a:spcAft>
        <a:buClr>
          <a:schemeClr val="accent1"/>
        </a:buClr>
        <a:buFont typeface="BISansCond" pitchFamily="2" charset="0"/>
        <a:buChar char="–"/>
        <a:defRPr sz="2000">
          <a:solidFill>
            <a:schemeClr val="tx1"/>
          </a:solidFill>
          <a:latin typeface="Calibri" pitchFamily="34" charset="0"/>
        </a:defRPr>
      </a:lvl4pPr>
      <a:lvl5pPr marL="1085850" indent="-265113" algn="l" defTabSz="8610600" rtl="0" eaLnBrk="0" fontAlgn="base" hangingPunct="0">
        <a:spcBef>
          <a:spcPct val="0"/>
        </a:spcBef>
        <a:spcAft>
          <a:spcPct val="0"/>
        </a:spcAft>
        <a:buClr>
          <a:schemeClr val="accent1"/>
        </a:buClr>
        <a:buFont typeface="BISansCond" pitchFamily="2" charset="0"/>
        <a:buChar char="–"/>
        <a:defRPr sz="2000">
          <a:solidFill>
            <a:schemeClr val="tx1"/>
          </a:solidFill>
          <a:latin typeface="Calibri" pitchFamily="34" charset="0"/>
        </a:defRPr>
      </a:lvl5pPr>
      <a:lvl6pPr marL="1543050" indent="-265113" algn="l" defTabSz="8610600" rtl="0" eaLnBrk="1" fontAlgn="base" hangingPunct="1">
        <a:spcBef>
          <a:spcPct val="0"/>
        </a:spcBef>
        <a:spcAft>
          <a:spcPct val="0"/>
        </a:spcAft>
        <a:buFont typeface="BISansCond" pitchFamily="2" charset="0"/>
        <a:buChar char="–"/>
        <a:defRPr sz="2000">
          <a:solidFill>
            <a:schemeClr val="tx1"/>
          </a:solidFill>
          <a:latin typeface="+mn-lt"/>
        </a:defRPr>
      </a:lvl6pPr>
      <a:lvl7pPr marL="2000250" indent="-265113" algn="l" defTabSz="8610600" rtl="0" eaLnBrk="1" fontAlgn="base" hangingPunct="1">
        <a:spcBef>
          <a:spcPct val="0"/>
        </a:spcBef>
        <a:spcAft>
          <a:spcPct val="0"/>
        </a:spcAft>
        <a:buFont typeface="BISansCond" pitchFamily="2" charset="0"/>
        <a:buChar char="–"/>
        <a:defRPr sz="2000">
          <a:solidFill>
            <a:schemeClr val="tx1"/>
          </a:solidFill>
          <a:latin typeface="+mn-lt"/>
        </a:defRPr>
      </a:lvl7pPr>
      <a:lvl8pPr marL="2457450" indent="-265113" algn="l" defTabSz="8610600" rtl="0" eaLnBrk="1" fontAlgn="base" hangingPunct="1">
        <a:spcBef>
          <a:spcPct val="0"/>
        </a:spcBef>
        <a:spcAft>
          <a:spcPct val="0"/>
        </a:spcAft>
        <a:buFont typeface="BISansCond" pitchFamily="2" charset="0"/>
        <a:buChar char="–"/>
        <a:defRPr sz="2000">
          <a:solidFill>
            <a:schemeClr val="tx1"/>
          </a:solidFill>
          <a:latin typeface="+mn-lt"/>
        </a:defRPr>
      </a:lvl8pPr>
      <a:lvl9pPr marL="2914650" indent="-265113" algn="l" defTabSz="8610600" rtl="0" eaLnBrk="1" fontAlgn="base" hangingPunct="1">
        <a:spcBef>
          <a:spcPct val="0"/>
        </a:spcBef>
        <a:spcAft>
          <a:spcPct val="0"/>
        </a:spcAft>
        <a:buFont typeface="BISansCond" pitchFamily="2" charset="0"/>
        <a:buChar char="–"/>
        <a:defRPr sz="20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4930" name="Rectangle 2"/>
          <p:cNvSpPr>
            <a:spLocks noChangeArrowheads="1"/>
          </p:cNvSpPr>
          <p:nvPr/>
        </p:nvSpPr>
        <p:spPr bwMode="auto">
          <a:xfrm>
            <a:off x="0" y="1"/>
            <a:ext cx="12192000" cy="989013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4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2493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78367" y="1258889"/>
            <a:ext cx="11245851" cy="48656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err="1"/>
              <a:t>Klicken</a:t>
            </a:r>
            <a:r>
              <a:rPr lang="en-US" dirty="0"/>
              <a:t> </a:t>
            </a:r>
            <a:r>
              <a:rPr lang="en-US" dirty="0" err="1"/>
              <a:t>Sie</a:t>
            </a:r>
            <a:r>
              <a:rPr lang="en-US" dirty="0"/>
              <a:t>, um die </a:t>
            </a:r>
            <a:r>
              <a:rPr lang="en-US" dirty="0" err="1"/>
              <a:t>Formate</a:t>
            </a:r>
            <a:r>
              <a:rPr lang="en-US" dirty="0"/>
              <a:t> des </a:t>
            </a:r>
            <a:r>
              <a:rPr lang="en-US" dirty="0" err="1"/>
              <a:t>Vorlagentextes</a:t>
            </a:r>
            <a:r>
              <a:rPr lang="en-US" dirty="0"/>
              <a:t> </a:t>
            </a:r>
            <a:r>
              <a:rPr lang="en-US" dirty="0" err="1"/>
              <a:t>zu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 err="1"/>
              <a:t>Ers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2"/>
            <a:r>
              <a:rPr lang="en-US" dirty="0" err="1"/>
              <a:t>Zwei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3"/>
            <a:r>
              <a:rPr lang="en-US" dirty="0" err="1"/>
              <a:t>Drit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4"/>
            <a:r>
              <a:rPr lang="en-US" dirty="0" err="1"/>
              <a:t>Vier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0"/>
            <a:r>
              <a:rPr lang="en-US" dirty="0" err="1"/>
              <a:t>Klicken</a:t>
            </a:r>
            <a:r>
              <a:rPr lang="en-US" dirty="0"/>
              <a:t> </a:t>
            </a:r>
            <a:r>
              <a:rPr lang="en-US" dirty="0" err="1"/>
              <a:t>Sie</a:t>
            </a:r>
            <a:r>
              <a:rPr lang="en-US" dirty="0"/>
              <a:t>, um die </a:t>
            </a:r>
            <a:r>
              <a:rPr lang="en-US" dirty="0" err="1"/>
              <a:t>Formate</a:t>
            </a:r>
            <a:r>
              <a:rPr lang="en-US" dirty="0"/>
              <a:t> des </a:t>
            </a:r>
            <a:r>
              <a:rPr lang="en-US" dirty="0" err="1"/>
              <a:t>Vorlagentextes</a:t>
            </a:r>
            <a:r>
              <a:rPr lang="en-US" dirty="0"/>
              <a:t> </a:t>
            </a:r>
            <a:r>
              <a:rPr lang="en-US" dirty="0" err="1"/>
              <a:t>zu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</p:txBody>
      </p:sp>
      <p:sp>
        <p:nvSpPr>
          <p:cNvPr id="124932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78367" y="107951"/>
            <a:ext cx="8997951" cy="881063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err="1"/>
              <a:t>Klicken</a:t>
            </a:r>
            <a:r>
              <a:rPr lang="en-US" dirty="0"/>
              <a:t> </a:t>
            </a:r>
            <a:r>
              <a:rPr lang="en-US" dirty="0" err="1"/>
              <a:t>Sie</a:t>
            </a:r>
            <a:r>
              <a:rPr lang="en-US" dirty="0"/>
              <a:t>, um das </a:t>
            </a:r>
            <a:r>
              <a:rPr lang="en-US" dirty="0" err="1"/>
              <a:t>Titelformat</a:t>
            </a:r>
            <a:r>
              <a:rPr lang="en-US" dirty="0"/>
              <a:t> </a:t>
            </a:r>
            <a:r>
              <a:rPr lang="en-US" dirty="0" err="1"/>
              <a:t>zu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</p:txBody>
      </p:sp>
      <p:sp>
        <p:nvSpPr>
          <p:cNvPr id="124933" name="Rectangle 5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10238318" y="6451600"/>
            <a:ext cx="1485900" cy="179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000">
                <a:solidFill>
                  <a:srgbClr val="000000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cs typeface="Arial" pitchFamily="34" charset="0"/>
            </a:endParaRPr>
          </a:p>
        </p:txBody>
      </p:sp>
      <p:sp>
        <p:nvSpPr>
          <p:cNvPr id="124934" name="Rectangle 6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78367" y="6423026"/>
            <a:ext cx="8638117" cy="3603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eaLnBrk="1" hangingPunct="1">
              <a:defRPr sz="1000">
                <a:solidFill>
                  <a:srgbClr val="000000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cs typeface="Arial" pitchFamily="34" charset="0"/>
              </a:rPr>
              <a:t> Business Review Template - Confidential</a:t>
            </a:r>
          </a:p>
        </p:txBody>
      </p:sp>
      <p:pic>
        <p:nvPicPr>
          <p:cNvPr id="124935" name="Picture 7" descr="BI-Logo_36pt_blue_neg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9757834" y="179388"/>
            <a:ext cx="1947333" cy="449262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4032356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3" r:id="rId1"/>
    <p:sldLayoutId id="2147483774" r:id="rId2"/>
    <p:sldLayoutId id="2147483775" r:id="rId3"/>
    <p:sldLayoutId id="2147483776" r:id="rId4"/>
    <p:sldLayoutId id="2147483777" r:id="rId5"/>
  </p:sldLayoutIdLst>
  <p:transition spd="med"/>
  <p:hf sldNum="0"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Calibri" pitchFamily="34" charset="0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BISansCond" pitchFamily="2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BISansCond" pitchFamily="2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BISansCond" pitchFamily="2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BISansCond" pitchFamily="2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BISansCond" pitchFamily="2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BISansCond" pitchFamily="2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BISansCond" pitchFamily="2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BISansCond" pitchFamily="2" charset="0"/>
        </a:defRPr>
      </a:lvl9pPr>
    </p:titleStyle>
    <p:bodyStyle>
      <a:lvl1pPr algn="l" defTabSz="8610600" rtl="0" eaLnBrk="1" fontAlgn="base" hangingPunct="1">
        <a:spcBef>
          <a:spcPct val="0"/>
        </a:spcBef>
        <a:spcAft>
          <a:spcPct val="0"/>
        </a:spcAft>
        <a:buClr>
          <a:schemeClr val="folHlink"/>
        </a:buClr>
        <a:buFont typeface="Wingdings" pitchFamily="2" charset="2"/>
        <a:defRPr sz="2000">
          <a:solidFill>
            <a:schemeClr val="tx1"/>
          </a:solidFill>
          <a:latin typeface="Calibri" pitchFamily="34" charset="0"/>
          <a:ea typeface="+mn-ea"/>
          <a:cs typeface="+mn-cs"/>
        </a:defRPr>
      </a:lvl1pPr>
      <a:lvl2pPr marL="276225" indent="-274638" algn="l" defTabSz="8610600" rtl="0" eaLnBrk="1" fontAlgn="base" hangingPunct="1">
        <a:spcBef>
          <a:spcPct val="0"/>
        </a:spcBef>
        <a:spcAft>
          <a:spcPct val="0"/>
        </a:spcAft>
        <a:buClr>
          <a:schemeClr val="accent1"/>
        </a:buClr>
        <a:buChar char="•"/>
        <a:defRPr sz="2000">
          <a:solidFill>
            <a:schemeClr val="tx1"/>
          </a:solidFill>
          <a:latin typeface="Calibri" pitchFamily="34" charset="0"/>
        </a:defRPr>
      </a:lvl2pPr>
      <a:lvl3pPr marL="542925" indent="-265113" algn="l" defTabSz="8610600" rtl="0" eaLnBrk="1" fontAlgn="base" hangingPunct="1">
        <a:spcBef>
          <a:spcPct val="0"/>
        </a:spcBef>
        <a:spcAft>
          <a:spcPct val="0"/>
        </a:spcAft>
        <a:buClr>
          <a:schemeClr val="accent1"/>
        </a:buClr>
        <a:buFont typeface="BISansCond" pitchFamily="2" charset="0"/>
        <a:buChar char="–"/>
        <a:defRPr sz="2000">
          <a:solidFill>
            <a:schemeClr val="tx1"/>
          </a:solidFill>
          <a:latin typeface="Calibri" pitchFamily="34" charset="0"/>
        </a:defRPr>
      </a:lvl3pPr>
      <a:lvl4pPr marL="819150" indent="-274638" algn="l" defTabSz="8610600" rtl="0" eaLnBrk="1" fontAlgn="base" hangingPunct="1">
        <a:spcBef>
          <a:spcPct val="0"/>
        </a:spcBef>
        <a:spcAft>
          <a:spcPct val="0"/>
        </a:spcAft>
        <a:buClr>
          <a:schemeClr val="accent1"/>
        </a:buClr>
        <a:buFont typeface="BISansCond" pitchFamily="2" charset="0"/>
        <a:buChar char="–"/>
        <a:defRPr sz="2000">
          <a:solidFill>
            <a:schemeClr val="tx1"/>
          </a:solidFill>
          <a:latin typeface="Calibri" pitchFamily="34" charset="0"/>
        </a:defRPr>
      </a:lvl4pPr>
      <a:lvl5pPr marL="1085850" indent="-265113" algn="l" defTabSz="8610600" rtl="0" eaLnBrk="1" fontAlgn="base" hangingPunct="1">
        <a:spcBef>
          <a:spcPct val="0"/>
        </a:spcBef>
        <a:spcAft>
          <a:spcPct val="0"/>
        </a:spcAft>
        <a:buClr>
          <a:schemeClr val="accent1"/>
        </a:buClr>
        <a:buFont typeface="BISansCond" pitchFamily="2" charset="0"/>
        <a:buChar char="–"/>
        <a:defRPr sz="2000">
          <a:solidFill>
            <a:schemeClr val="tx1"/>
          </a:solidFill>
          <a:latin typeface="Calibri" pitchFamily="34" charset="0"/>
        </a:defRPr>
      </a:lvl5pPr>
      <a:lvl6pPr marL="1543050" indent="-265113" algn="l" defTabSz="8610600" rtl="0" eaLnBrk="1" fontAlgn="base" hangingPunct="1">
        <a:spcBef>
          <a:spcPct val="0"/>
        </a:spcBef>
        <a:spcAft>
          <a:spcPct val="0"/>
        </a:spcAft>
        <a:buFont typeface="BISansCond" pitchFamily="2" charset="0"/>
        <a:buChar char="–"/>
        <a:defRPr sz="2000">
          <a:solidFill>
            <a:schemeClr val="tx1"/>
          </a:solidFill>
          <a:latin typeface="+mn-lt"/>
        </a:defRPr>
      </a:lvl6pPr>
      <a:lvl7pPr marL="2000250" indent="-265113" algn="l" defTabSz="8610600" rtl="0" eaLnBrk="1" fontAlgn="base" hangingPunct="1">
        <a:spcBef>
          <a:spcPct val="0"/>
        </a:spcBef>
        <a:spcAft>
          <a:spcPct val="0"/>
        </a:spcAft>
        <a:buFont typeface="BISansCond" pitchFamily="2" charset="0"/>
        <a:buChar char="–"/>
        <a:defRPr sz="2000">
          <a:solidFill>
            <a:schemeClr val="tx1"/>
          </a:solidFill>
          <a:latin typeface="+mn-lt"/>
        </a:defRPr>
      </a:lvl7pPr>
      <a:lvl8pPr marL="2457450" indent="-265113" algn="l" defTabSz="8610600" rtl="0" eaLnBrk="1" fontAlgn="base" hangingPunct="1">
        <a:spcBef>
          <a:spcPct val="0"/>
        </a:spcBef>
        <a:spcAft>
          <a:spcPct val="0"/>
        </a:spcAft>
        <a:buFont typeface="BISansCond" pitchFamily="2" charset="0"/>
        <a:buChar char="–"/>
        <a:defRPr sz="2000">
          <a:solidFill>
            <a:schemeClr val="tx1"/>
          </a:solidFill>
          <a:latin typeface="+mn-lt"/>
        </a:defRPr>
      </a:lvl8pPr>
      <a:lvl9pPr marL="2914650" indent="-265113" algn="l" defTabSz="8610600" rtl="0" eaLnBrk="1" fontAlgn="base" hangingPunct="1">
        <a:spcBef>
          <a:spcPct val="0"/>
        </a:spcBef>
        <a:spcAft>
          <a:spcPct val="0"/>
        </a:spcAft>
        <a:buFont typeface="BISansCond" pitchFamily="2" charset="0"/>
        <a:buChar char="–"/>
        <a:defRPr sz="20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" name="Gruppieren 22"/>
          <p:cNvGrpSpPr/>
          <p:nvPr/>
        </p:nvGrpSpPr>
        <p:grpSpPr>
          <a:xfrm>
            <a:off x="243770" y="48946"/>
            <a:ext cx="11710247" cy="6809055"/>
            <a:chOff x="182826" y="36709"/>
            <a:chExt cx="8782685" cy="5106791"/>
          </a:xfrm>
        </p:grpSpPr>
        <p:cxnSp>
          <p:nvCxnSpPr>
            <p:cNvPr id="9" name="Gerade Verbindung 8"/>
            <p:cNvCxnSpPr/>
            <p:nvPr/>
          </p:nvCxnSpPr>
          <p:spPr>
            <a:xfrm>
              <a:off x="367575" y="36709"/>
              <a:ext cx="0" cy="5106791"/>
            </a:xfrm>
            <a:prstGeom prst="line">
              <a:avLst/>
            </a:prstGeom>
            <a:ln w="9525">
              <a:noFill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 Verbindung 10"/>
            <p:cNvCxnSpPr/>
            <p:nvPr/>
          </p:nvCxnSpPr>
          <p:spPr>
            <a:xfrm flipV="1">
              <a:off x="182826" y="4783577"/>
              <a:ext cx="8782685" cy="1"/>
            </a:xfrm>
            <a:prstGeom prst="line">
              <a:avLst/>
            </a:prstGeom>
            <a:ln w="9525">
              <a:noFill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Gerade Verbindung 12"/>
            <p:cNvCxnSpPr/>
            <p:nvPr/>
          </p:nvCxnSpPr>
          <p:spPr>
            <a:xfrm>
              <a:off x="8776425" y="36709"/>
              <a:ext cx="0" cy="5106791"/>
            </a:xfrm>
            <a:prstGeom prst="line">
              <a:avLst/>
            </a:prstGeom>
            <a:ln w="9525">
              <a:noFill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 Verbindung 13"/>
            <p:cNvCxnSpPr/>
            <p:nvPr/>
          </p:nvCxnSpPr>
          <p:spPr>
            <a:xfrm flipV="1">
              <a:off x="812055" y="5039714"/>
              <a:ext cx="7258417" cy="1"/>
            </a:xfrm>
            <a:prstGeom prst="line">
              <a:avLst/>
            </a:prstGeom>
            <a:ln w="9525">
              <a:noFill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Gerade Verbindung 15"/>
            <p:cNvCxnSpPr/>
            <p:nvPr/>
          </p:nvCxnSpPr>
          <p:spPr>
            <a:xfrm>
              <a:off x="1351328" y="4715849"/>
              <a:ext cx="0" cy="371785"/>
            </a:xfrm>
            <a:prstGeom prst="line">
              <a:avLst/>
            </a:prstGeom>
            <a:ln w="9525">
              <a:noFill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18"/>
            <p:cNvCxnSpPr/>
            <p:nvPr/>
          </p:nvCxnSpPr>
          <p:spPr>
            <a:xfrm flipV="1">
              <a:off x="182826" y="188161"/>
              <a:ext cx="8782685" cy="1"/>
            </a:xfrm>
            <a:prstGeom prst="line">
              <a:avLst/>
            </a:prstGeom>
            <a:ln w="9525">
              <a:noFill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19"/>
            <p:cNvCxnSpPr/>
            <p:nvPr/>
          </p:nvCxnSpPr>
          <p:spPr>
            <a:xfrm>
              <a:off x="991288" y="4715849"/>
              <a:ext cx="0" cy="371785"/>
            </a:xfrm>
            <a:prstGeom prst="line">
              <a:avLst/>
            </a:prstGeom>
            <a:ln w="9525">
              <a:noFill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490100" y="396543"/>
            <a:ext cx="11211800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GB" noProof="0" dirty="0" err="1"/>
              <a:t>Titelmasterformat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90100" y="1600202"/>
            <a:ext cx="11211800" cy="45259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 err="1"/>
              <a:t>Textmasterformat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  <a:p>
            <a:pPr lvl="1"/>
            <a:r>
              <a:rPr lang="en-GB" noProof="0" dirty="0" err="1"/>
              <a:t>Zwei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2"/>
            <a:r>
              <a:rPr lang="en-GB" noProof="0" dirty="0" err="1"/>
              <a:t>Drit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3"/>
            <a:r>
              <a:rPr lang="en-GB" noProof="0" dirty="0" err="1"/>
              <a:t>Vier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4"/>
            <a:r>
              <a:rPr lang="en-GB" noProof="0" dirty="0" err="1"/>
              <a:t>Fünf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10332882" y="6597269"/>
            <a:ext cx="605935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BISansCond" panose="02000006050000020004" pitchFamily="2" charset="0"/>
              </a:defRPr>
            </a:lvl1pPr>
          </a:lstStyle>
          <a:p>
            <a:fld id="{59D6F760-3D0A-42A5-9C72-D5981AC53901}" type="datetime1">
              <a:rPr lang="en-GB" smtClean="0">
                <a:solidFill>
                  <a:prstClr val="white">
                    <a:lumMod val="50000"/>
                  </a:prstClr>
                </a:solidFill>
              </a:rPr>
              <a:pPr/>
              <a:t>14/12/2021</a:t>
            </a:fld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801771" y="6597269"/>
            <a:ext cx="8186291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0">
                <a:solidFill>
                  <a:schemeClr val="bg1">
                    <a:lumMod val="50000"/>
                  </a:schemeClr>
                </a:solidFill>
                <a:latin typeface="BISansCond" panose="02000006050000020004" pitchFamily="2" charset="0"/>
              </a:defRPr>
            </a:lvl1pPr>
          </a:lstStyle>
          <a:p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554424" y="6597269"/>
            <a:ext cx="147476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BISansCond" panose="02000006050000020004" pitchFamily="2" charset="0"/>
              </a:defRPr>
            </a:lvl1pPr>
          </a:lstStyle>
          <a:p>
            <a:fld id="{143B55C4-4F5A-416B-997D-6CE47EB0A945}" type="slidenum">
              <a:rPr lang="en-GB" smtClean="0">
                <a:solidFill>
                  <a:prstClr val="white">
                    <a:lumMod val="50000"/>
                  </a:prstClr>
                </a:solidFill>
              </a:rPr>
              <a:pPr/>
              <a:t>‹#›</a:t>
            </a:fld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grpSp>
        <p:nvGrpSpPr>
          <p:cNvPr id="17" name="Gruppieren 16"/>
          <p:cNvGrpSpPr/>
          <p:nvPr/>
        </p:nvGrpSpPr>
        <p:grpSpPr>
          <a:xfrm>
            <a:off x="243770" y="48946"/>
            <a:ext cx="11710247" cy="6809055"/>
            <a:chOff x="182826" y="36709"/>
            <a:chExt cx="8782685" cy="5106791"/>
          </a:xfrm>
        </p:grpSpPr>
        <p:cxnSp>
          <p:nvCxnSpPr>
            <p:cNvPr id="18" name="Gerade Verbindung 17"/>
            <p:cNvCxnSpPr/>
            <p:nvPr/>
          </p:nvCxnSpPr>
          <p:spPr>
            <a:xfrm>
              <a:off x="367575" y="36709"/>
              <a:ext cx="0" cy="5106791"/>
            </a:xfrm>
            <a:prstGeom prst="line">
              <a:avLst/>
            </a:prstGeom>
            <a:ln w="9525">
              <a:noFill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20"/>
            <p:cNvCxnSpPr/>
            <p:nvPr/>
          </p:nvCxnSpPr>
          <p:spPr>
            <a:xfrm flipV="1">
              <a:off x="182826" y="4783577"/>
              <a:ext cx="8782685" cy="1"/>
            </a:xfrm>
            <a:prstGeom prst="line">
              <a:avLst/>
            </a:prstGeom>
            <a:ln w="9525">
              <a:noFill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 Verbindung 21"/>
            <p:cNvCxnSpPr/>
            <p:nvPr/>
          </p:nvCxnSpPr>
          <p:spPr>
            <a:xfrm>
              <a:off x="8776425" y="36709"/>
              <a:ext cx="0" cy="5106791"/>
            </a:xfrm>
            <a:prstGeom prst="line">
              <a:avLst/>
            </a:prstGeom>
            <a:ln w="9525">
              <a:noFill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23"/>
            <p:cNvCxnSpPr/>
            <p:nvPr/>
          </p:nvCxnSpPr>
          <p:spPr>
            <a:xfrm flipV="1">
              <a:off x="812055" y="5039714"/>
              <a:ext cx="7258417" cy="1"/>
            </a:xfrm>
            <a:prstGeom prst="line">
              <a:avLst/>
            </a:prstGeom>
            <a:ln w="9525">
              <a:noFill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24"/>
            <p:cNvCxnSpPr/>
            <p:nvPr/>
          </p:nvCxnSpPr>
          <p:spPr>
            <a:xfrm>
              <a:off x="1351328" y="4715849"/>
              <a:ext cx="0" cy="371785"/>
            </a:xfrm>
            <a:prstGeom prst="line">
              <a:avLst/>
            </a:prstGeom>
            <a:ln w="9525">
              <a:noFill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 Verbindung 25"/>
            <p:cNvCxnSpPr/>
            <p:nvPr/>
          </p:nvCxnSpPr>
          <p:spPr>
            <a:xfrm flipV="1">
              <a:off x="182826" y="188161"/>
              <a:ext cx="8782685" cy="1"/>
            </a:xfrm>
            <a:prstGeom prst="line">
              <a:avLst/>
            </a:prstGeom>
            <a:ln w="9525">
              <a:noFill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26"/>
            <p:cNvCxnSpPr/>
            <p:nvPr/>
          </p:nvCxnSpPr>
          <p:spPr>
            <a:xfrm>
              <a:off x="991288" y="4715849"/>
              <a:ext cx="0" cy="371785"/>
            </a:xfrm>
            <a:prstGeom prst="line">
              <a:avLst/>
            </a:prstGeom>
            <a:ln w="9525">
              <a:noFill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30" name="Grafik 29"/>
          <p:cNvPicPr>
            <a:picLocks noChangeAspect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5924" y="6578958"/>
            <a:ext cx="840360" cy="1905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71661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3" r:id="rId1"/>
    <p:sldLayoutId id="2147483794" r:id="rId2"/>
    <p:sldLayoutId id="2147483795" r:id="rId3"/>
    <p:sldLayoutId id="2147483796" r:id="rId4"/>
    <p:sldLayoutId id="2147483797" r:id="rId5"/>
    <p:sldLayoutId id="2147483798" r:id="rId6"/>
    <p:sldLayoutId id="2147483799" r:id="rId7"/>
    <p:sldLayoutId id="2147483800" r:id="rId8"/>
    <p:sldLayoutId id="2147483801" r:id="rId9"/>
    <p:sldLayoutId id="2147483802" r:id="rId10"/>
    <p:sldLayoutId id="2147483803" r:id="rId11"/>
    <p:sldLayoutId id="2147483804" r:id="rId12"/>
    <p:sldLayoutId id="2147483805" r:id="rId13"/>
    <p:sldLayoutId id="2147483806" r:id="rId14"/>
    <p:sldLayoutId id="2147483807" r:id="rId15"/>
    <p:sldLayoutId id="2147483808" r:id="rId16"/>
    <p:sldLayoutId id="2147483809" r:id="rId17"/>
    <p:sldLayoutId id="2147483810" r:id="rId18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  <p:txStyles>
    <p:titleStyle>
      <a:lvl1pPr algn="l" defTabSz="914400" rtl="0" eaLnBrk="1" latinLnBrk="0" hangingPunct="1">
        <a:spcBef>
          <a:spcPct val="0"/>
        </a:spcBef>
        <a:buNone/>
        <a:defRPr sz="2400" kern="1200">
          <a:solidFill>
            <a:srgbClr val="003366"/>
          </a:solidFill>
          <a:latin typeface="+mj-lt"/>
          <a:ea typeface="+mj-ea"/>
          <a:cs typeface="+mj-cs"/>
        </a:defRPr>
      </a:lvl1pPr>
    </p:titleStyle>
    <p:bodyStyle>
      <a:lvl1pPr marL="266700" indent="-266700" algn="l" defTabSz="914400" rtl="0" eaLnBrk="1" latinLnBrk="0" hangingPunct="1">
        <a:spcBef>
          <a:spcPts val="4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450850" indent="-184150" algn="l" defTabSz="914400" rtl="0" eaLnBrk="1" latinLnBrk="0" hangingPunct="1">
        <a:spcBef>
          <a:spcPts val="0"/>
        </a:spcBef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628650" indent="-177800" algn="l" defTabSz="914400" rtl="0" eaLnBrk="1" latinLnBrk="0" hangingPunct="1">
        <a:spcBef>
          <a:spcPts val="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806450" indent="-177800" algn="l" defTabSz="914400" rtl="0" eaLnBrk="1" latinLnBrk="0" hangingPunct="1">
        <a:spcBef>
          <a:spcPts val="0"/>
        </a:spcBef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984250" indent="-177800" algn="l" defTabSz="914400" rtl="0" eaLnBrk="1" latinLnBrk="0" hangingPunct="1">
        <a:spcBef>
          <a:spcPts val="0"/>
        </a:spcBef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" name="Gruppieren 22"/>
          <p:cNvGrpSpPr/>
          <p:nvPr/>
        </p:nvGrpSpPr>
        <p:grpSpPr>
          <a:xfrm>
            <a:off x="243774" y="48956"/>
            <a:ext cx="11710247" cy="6809055"/>
            <a:chOff x="182826" y="36709"/>
            <a:chExt cx="8782685" cy="5106791"/>
          </a:xfrm>
        </p:grpSpPr>
        <p:cxnSp>
          <p:nvCxnSpPr>
            <p:cNvPr id="9" name="Gerade Verbindung 8"/>
            <p:cNvCxnSpPr/>
            <p:nvPr/>
          </p:nvCxnSpPr>
          <p:spPr>
            <a:xfrm>
              <a:off x="367575" y="36709"/>
              <a:ext cx="0" cy="5106791"/>
            </a:xfrm>
            <a:prstGeom prst="line">
              <a:avLst/>
            </a:prstGeom>
            <a:ln w="9525">
              <a:noFill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 Verbindung 10"/>
            <p:cNvCxnSpPr/>
            <p:nvPr/>
          </p:nvCxnSpPr>
          <p:spPr>
            <a:xfrm flipV="1">
              <a:off x="182826" y="4783577"/>
              <a:ext cx="8782685" cy="1"/>
            </a:xfrm>
            <a:prstGeom prst="line">
              <a:avLst/>
            </a:prstGeom>
            <a:ln w="9525">
              <a:noFill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Gerade Verbindung 12"/>
            <p:cNvCxnSpPr/>
            <p:nvPr/>
          </p:nvCxnSpPr>
          <p:spPr>
            <a:xfrm>
              <a:off x="8776425" y="36709"/>
              <a:ext cx="0" cy="5106791"/>
            </a:xfrm>
            <a:prstGeom prst="line">
              <a:avLst/>
            </a:prstGeom>
            <a:ln w="9525">
              <a:noFill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 Verbindung 13"/>
            <p:cNvCxnSpPr/>
            <p:nvPr/>
          </p:nvCxnSpPr>
          <p:spPr>
            <a:xfrm flipV="1">
              <a:off x="812055" y="5039714"/>
              <a:ext cx="7258417" cy="1"/>
            </a:xfrm>
            <a:prstGeom prst="line">
              <a:avLst/>
            </a:prstGeom>
            <a:ln w="9525">
              <a:noFill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Gerade Verbindung 15"/>
            <p:cNvCxnSpPr/>
            <p:nvPr/>
          </p:nvCxnSpPr>
          <p:spPr>
            <a:xfrm>
              <a:off x="1351328" y="4715849"/>
              <a:ext cx="0" cy="371785"/>
            </a:xfrm>
            <a:prstGeom prst="line">
              <a:avLst/>
            </a:prstGeom>
            <a:ln w="9525">
              <a:noFill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18"/>
            <p:cNvCxnSpPr/>
            <p:nvPr/>
          </p:nvCxnSpPr>
          <p:spPr>
            <a:xfrm flipV="1">
              <a:off x="182826" y="188161"/>
              <a:ext cx="8782685" cy="1"/>
            </a:xfrm>
            <a:prstGeom prst="line">
              <a:avLst/>
            </a:prstGeom>
            <a:ln w="9525">
              <a:noFill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19"/>
            <p:cNvCxnSpPr/>
            <p:nvPr/>
          </p:nvCxnSpPr>
          <p:spPr>
            <a:xfrm>
              <a:off x="991288" y="4715849"/>
              <a:ext cx="0" cy="371785"/>
            </a:xfrm>
            <a:prstGeom prst="line">
              <a:avLst/>
            </a:prstGeom>
            <a:ln w="9525">
              <a:noFill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490100" y="396543"/>
            <a:ext cx="11211800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GB" noProof="0" dirty="0" err="1"/>
              <a:t>Titelmasterformat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90100" y="1600206"/>
            <a:ext cx="11211800" cy="45259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 err="1"/>
              <a:t>Textmasterformat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  <a:p>
            <a:pPr lvl="1"/>
            <a:r>
              <a:rPr lang="en-GB" noProof="0" dirty="0" err="1"/>
              <a:t>Zwei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2"/>
            <a:r>
              <a:rPr lang="en-GB" noProof="0" dirty="0" err="1"/>
              <a:t>Drit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3"/>
            <a:r>
              <a:rPr lang="en-GB" noProof="0" dirty="0" err="1"/>
              <a:t>Vier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4"/>
            <a:r>
              <a:rPr lang="en-GB" noProof="0" dirty="0" err="1"/>
              <a:t>Fünf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10332891" y="6597269"/>
            <a:ext cx="605935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BISansCond" panose="02000006050000020004" pitchFamily="2" charset="0"/>
              </a:defRPr>
            </a:lvl1pPr>
          </a:lstStyle>
          <a:p>
            <a:fld id="{59D6F760-3D0A-42A5-9C72-D5981AC53901}" type="datetime1">
              <a:rPr lang="en-GB" smtClean="0">
                <a:solidFill>
                  <a:prstClr val="white">
                    <a:lumMod val="50000"/>
                  </a:prstClr>
                </a:solidFill>
                <a:cs typeface="Arial" pitchFamily="34" charset="0"/>
              </a:rPr>
              <a:pPr/>
              <a:t>14/12/2021</a:t>
            </a:fld>
            <a:endParaRPr lang="en-GB" dirty="0">
              <a:solidFill>
                <a:prstClr val="white">
                  <a:lumMod val="50000"/>
                </a:prstClr>
              </a:solidFill>
              <a:cs typeface="Arial" pitchFamily="34" charset="0"/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801775" y="6597269"/>
            <a:ext cx="8186291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0">
                <a:solidFill>
                  <a:schemeClr val="bg1">
                    <a:lumMod val="50000"/>
                  </a:schemeClr>
                </a:solidFill>
                <a:latin typeface="BISansCond" panose="02000006050000020004" pitchFamily="2" charset="0"/>
              </a:defRPr>
            </a:lvl1pPr>
          </a:lstStyle>
          <a:p>
            <a:endParaRPr lang="en-GB" dirty="0">
              <a:solidFill>
                <a:prstClr val="white">
                  <a:lumMod val="50000"/>
                </a:prstClr>
              </a:solidFill>
              <a:cs typeface="Arial" pitchFamily="34" charset="0"/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554424" y="6597269"/>
            <a:ext cx="147476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BISansCond" panose="02000006050000020004" pitchFamily="2" charset="0"/>
              </a:defRPr>
            </a:lvl1pPr>
          </a:lstStyle>
          <a:p>
            <a:fld id="{143B55C4-4F5A-416B-997D-6CE47EB0A945}" type="slidenum">
              <a:rPr lang="en-GB" smtClean="0">
                <a:solidFill>
                  <a:prstClr val="white">
                    <a:lumMod val="50000"/>
                  </a:prstClr>
                </a:solidFill>
                <a:cs typeface="Arial" pitchFamily="34" charset="0"/>
              </a:rPr>
              <a:pPr/>
              <a:t>‹#›</a:t>
            </a:fld>
            <a:endParaRPr lang="en-GB" dirty="0">
              <a:solidFill>
                <a:prstClr val="white">
                  <a:lumMod val="50000"/>
                </a:prstClr>
              </a:solidFill>
              <a:cs typeface="Arial" pitchFamily="34" charset="0"/>
            </a:endParaRPr>
          </a:p>
        </p:txBody>
      </p:sp>
      <p:grpSp>
        <p:nvGrpSpPr>
          <p:cNvPr id="17" name="Gruppieren 16"/>
          <p:cNvGrpSpPr/>
          <p:nvPr/>
        </p:nvGrpSpPr>
        <p:grpSpPr>
          <a:xfrm>
            <a:off x="243774" y="48956"/>
            <a:ext cx="11710247" cy="6809055"/>
            <a:chOff x="182826" y="36709"/>
            <a:chExt cx="8782685" cy="5106791"/>
          </a:xfrm>
        </p:grpSpPr>
        <p:cxnSp>
          <p:nvCxnSpPr>
            <p:cNvPr id="18" name="Gerade Verbindung 17"/>
            <p:cNvCxnSpPr/>
            <p:nvPr/>
          </p:nvCxnSpPr>
          <p:spPr>
            <a:xfrm>
              <a:off x="367575" y="36709"/>
              <a:ext cx="0" cy="5106791"/>
            </a:xfrm>
            <a:prstGeom prst="line">
              <a:avLst/>
            </a:prstGeom>
            <a:ln w="9525">
              <a:noFill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20"/>
            <p:cNvCxnSpPr/>
            <p:nvPr/>
          </p:nvCxnSpPr>
          <p:spPr>
            <a:xfrm flipV="1">
              <a:off x="182826" y="4783577"/>
              <a:ext cx="8782685" cy="1"/>
            </a:xfrm>
            <a:prstGeom prst="line">
              <a:avLst/>
            </a:prstGeom>
            <a:ln w="9525">
              <a:noFill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 Verbindung 21"/>
            <p:cNvCxnSpPr/>
            <p:nvPr/>
          </p:nvCxnSpPr>
          <p:spPr>
            <a:xfrm>
              <a:off x="8776425" y="36709"/>
              <a:ext cx="0" cy="5106791"/>
            </a:xfrm>
            <a:prstGeom prst="line">
              <a:avLst/>
            </a:prstGeom>
            <a:ln w="9525">
              <a:noFill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23"/>
            <p:cNvCxnSpPr/>
            <p:nvPr/>
          </p:nvCxnSpPr>
          <p:spPr>
            <a:xfrm flipV="1">
              <a:off x="812055" y="5039714"/>
              <a:ext cx="7258417" cy="1"/>
            </a:xfrm>
            <a:prstGeom prst="line">
              <a:avLst/>
            </a:prstGeom>
            <a:ln w="9525">
              <a:noFill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24"/>
            <p:cNvCxnSpPr/>
            <p:nvPr/>
          </p:nvCxnSpPr>
          <p:spPr>
            <a:xfrm>
              <a:off x="1351328" y="4715849"/>
              <a:ext cx="0" cy="371785"/>
            </a:xfrm>
            <a:prstGeom prst="line">
              <a:avLst/>
            </a:prstGeom>
            <a:ln w="9525">
              <a:noFill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 Verbindung 25"/>
            <p:cNvCxnSpPr/>
            <p:nvPr/>
          </p:nvCxnSpPr>
          <p:spPr>
            <a:xfrm flipV="1">
              <a:off x="182826" y="188161"/>
              <a:ext cx="8782685" cy="1"/>
            </a:xfrm>
            <a:prstGeom prst="line">
              <a:avLst/>
            </a:prstGeom>
            <a:ln w="9525">
              <a:noFill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26"/>
            <p:cNvCxnSpPr/>
            <p:nvPr/>
          </p:nvCxnSpPr>
          <p:spPr>
            <a:xfrm>
              <a:off x="991288" y="4715849"/>
              <a:ext cx="0" cy="371785"/>
            </a:xfrm>
            <a:prstGeom prst="line">
              <a:avLst/>
            </a:prstGeom>
            <a:ln w="9525">
              <a:noFill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30" name="Grafik 29"/>
          <p:cNvPicPr>
            <a:picLocks noChangeAspect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5924" y="6578989"/>
            <a:ext cx="840360" cy="1905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98481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9" r:id="rId1"/>
    <p:sldLayoutId id="2147483850" r:id="rId2"/>
    <p:sldLayoutId id="2147483851" r:id="rId3"/>
    <p:sldLayoutId id="2147483852" r:id="rId4"/>
    <p:sldLayoutId id="2147483853" r:id="rId5"/>
    <p:sldLayoutId id="2147483854" r:id="rId6"/>
    <p:sldLayoutId id="2147483855" r:id="rId7"/>
    <p:sldLayoutId id="2147483856" r:id="rId8"/>
    <p:sldLayoutId id="2147483857" r:id="rId9"/>
    <p:sldLayoutId id="2147483858" r:id="rId10"/>
    <p:sldLayoutId id="2147483859" r:id="rId11"/>
    <p:sldLayoutId id="2147483860" r:id="rId12"/>
    <p:sldLayoutId id="2147483861" r:id="rId13"/>
    <p:sldLayoutId id="2147483862" r:id="rId14"/>
    <p:sldLayoutId id="2147483863" r:id="rId15"/>
    <p:sldLayoutId id="2147483864" r:id="rId16"/>
    <p:sldLayoutId id="2147483865" r:id="rId17"/>
    <p:sldLayoutId id="2147483866" r:id="rId18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  <p:txStyles>
    <p:titleStyle>
      <a:lvl1pPr algn="l" defTabSz="914400" rtl="0" eaLnBrk="1" latinLnBrk="0" hangingPunct="1">
        <a:spcBef>
          <a:spcPct val="0"/>
        </a:spcBef>
        <a:buNone/>
        <a:defRPr sz="2400" kern="1200">
          <a:solidFill>
            <a:srgbClr val="003366"/>
          </a:solidFill>
          <a:latin typeface="+mj-lt"/>
          <a:ea typeface="+mj-ea"/>
          <a:cs typeface="+mj-cs"/>
        </a:defRPr>
      </a:lvl1pPr>
    </p:titleStyle>
    <p:bodyStyle>
      <a:lvl1pPr marL="266700" indent="-266700" algn="l" defTabSz="914400" rtl="0" eaLnBrk="1" latinLnBrk="0" hangingPunct="1">
        <a:spcBef>
          <a:spcPts val="4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450850" indent="-184150" algn="l" defTabSz="914400" rtl="0" eaLnBrk="1" latinLnBrk="0" hangingPunct="1">
        <a:spcBef>
          <a:spcPts val="0"/>
        </a:spcBef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628650" indent="-177800" algn="l" defTabSz="914400" rtl="0" eaLnBrk="1" latinLnBrk="0" hangingPunct="1">
        <a:spcBef>
          <a:spcPts val="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806450" indent="-177800" algn="l" defTabSz="914400" rtl="0" eaLnBrk="1" latinLnBrk="0" hangingPunct="1">
        <a:spcBef>
          <a:spcPts val="0"/>
        </a:spcBef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984250" indent="-177800" algn="l" defTabSz="914400" rtl="0" eaLnBrk="1" latinLnBrk="0" hangingPunct="1">
        <a:spcBef>
          <a:spcPts val="0"/>
        </a:spcBef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" name="Gruppieren 22"/>
          <p:cNvGrpSpPr/>
          <p:nvPr/>
        </p:nvGrpSpPr>
        <p:grpSpPr>
          <a:xfrm>
            <a:off x="243770" y="48946"/>
            <a:ext cx="11710247" cy="6809055"/>
            <a:chOff x="182826" y="36709"/>
            <a:chExt cx="8782685" cy="5106791"/>
          </a:xfrm>
        </p:grpSpPr>
        <p:cxnSp>
          <p:nvCxnSpPr>
            <p:cNvPr id="9" name="Gerade Verbindung 8"/>
            <p:cNvCxnSpPr/>
            <p:nvPr/>
          </p:nvCxnSpPr>
          <p:spPr>
            <a:xfrm>
              <a:off x="367575" y="36709"/>
              <a:ext cx="0" cy="5106791"/>
            </a:xfrm>
            <a:prstGeom prst="line">
              <a:avLst/>
            </a:prstGeom>
            <a:ln w="9525">
              <a:noFill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 Verbindung 10"/>
            <p:cNvCxnSpPr/>
            <p:nvPr/>
          </p:nvCxnSpPr>
          <p:spPr>
            <a:xfrm flipV="1">
              <a:off x="182826" y="4783577"/>
              <a:ext cx="8782685" cy="1"/>
            </a:xfrm>
            <a:prstGeom prst="line">
              <a:avLst/>
            </a:prstGeom>
            <a:ln w="9525">
              <a:noFill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Gerade Verbindung 12"/>
            <p:cNvCxnSpPr/>
            <p:nvPr/>
          </p:nvCxnSpPr>
          <p:spPr>
            <a:xfrm>
              <a:off x="8776425" y="36709"/>
              <a:ext cx="0" cy="5106791"/>
            </a:xfrm>
            <a:prstGeom prst="line">
              <a:avLst/>
            </a:prstGeom>
            <a:ln w="9525">
              <a:noFill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 Verbindung 13"/>
            <p:cNvCxnSpPr/>
            <p:nvPr/>
          </p:nvCxnSpPr>
          <p:spPr>
            <a:xfrm flipV="1">
              <a:off x="812055" y="5039714"/>
              <a:ext cx="7258417" cy="1"/>
            </a:xfrm>
            <a:prstGeom prst="line">
              <a:avLst/>
            </a:prstGeom>
            <a:ln w="9525">
              <a:noFill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Gerade Verbindung 15"/>
            <p:cNvCxnSpPr/>
            <p:nvPr/>
          </p:nvCxnSpPr>
          <p:spPr>
            <a:xfrm>
              <a:off x="1351328" y="4715849"/>
              <a:ext cx="0" cy="371785"/>
            </a:xfrm>
            <a:prstGeom prst="line">
              <a:avLst/>
            </a:prstGeom>
            <a:ln w="9525">
              <a:noFill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18"/>
            <p:cNvCxnSpPr/>
            <p:nvPr/>
          </p:nvCxnSpPr>
          <p:spPr>
            <a:xfrm flipV="1">
              <a:off x="182826" y="188161"/>
              <a:ext cx="8782685" cy="1"/>
            </a:xfrm>
            <a:prstGeom prst="line">
              <a:avLst/>
            </a:prstGeom>
            <a:ln w="9525">
              <a:noFill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19"/>
            <p:cNvCxnSpPr/>
            <p:nvPr/>
          </p:nvCxnSpPr>
          <p:spPr>
            <a:xfrm>
              <a:off x="991288" y="4715849"/>
              <a:ext cx="0" cy="371785"/>
            </a:xfrm>
            <a:prstGeom prst="line">
              <a:avLst/>
            </a:prstGeom>
            <a:ln w="9525">
              <a:noFill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490100" y="396543"/>
            <a:ext cx="11211800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GB" noProof="0" dirty="0" err="1"/>
              <a:t>Titelmasterformat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90100" y="1600202"/>
            <a:ext cx="11211800" cy="45259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 err="1"/>
              <a:t>Textmasterformat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  <a:p>
            <a:pPr lvl="1"/>
            <a:r>
              <a:rPr lang="en-GB" noProof="0" dirty="0" err="1"/>
              <a:t>Zwei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2"/>
            <a:r>
              <a:rPr lang="en-GB" noProof="0" dirty="0" err="1"/>
              <a:t>Drit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3"/>
            <a:r>
              <a:rPr lang="en-GB" noProof="0" dirty="0" err="1"/>
              <a:t>Vier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4"/>
            <a:r>
              <a:rPr lang="en-GB" noProof="0" dirty="0" err="1"/>
              <a:t>Fünf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10332882" y="6597269"/>
            <a:ext cx="605935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BISansCond" panose="02000006050000020004" pitchFamily="2" charset="0"/>
              </a:defRPr>
            </a:lvl1pPr>
          </a:lstStyle>
          <a:p>
            <a:fld id="{59D6F760-3D0A-42A5-9C72-D5981AC53901}" type="datetime1">
              <a:rPr lang="en-GB" smtClean="0">
                <a:solidFill>
                  <a:prstClr val="white">
                    <a:lumMod val="50000"/>
                  </a:prstClr>
                </a:solidFill>
              </a:rPr>
              <a:pPr/>
              <a:t>14/12/2021</a:t>
            </a:fld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801771" y="6597269"/>
            <a:ext cx="8186291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0">
                <a:solidFill>
                  <a:schemeClr val="bg1">
                    <a:lumMod val="50000"/>
                  </a:schemeClr>
                </a:solidFill>
                <a:latin typeface="BISansCond" panose="02000006050000020004" pitchFamily="2" charset="0"/>
              </a:defRPr>
            </a:lvl1pPr>
          </a:lstStyle>
          <a:p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554424" y="6597269"/>
            <a:ext cx="147476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BISansCond" panose="02000006050000020004" pitchFamily="2" charset="0"/>
              </a:defRPr>
            </a:lvl1pPr>
          </a:lstStyle>
          <a:p>
            <a:fld id="{143B55C4-4F5A-416B-997D-6CE47EB0A945}" type="slidenum">
              <a:rPr lang="en-GB" smtClean="0">
                <a:solidFill>
                  <a:prstClr val="white">
                    <a:lumMod val="50000"/>
                  </a:prstClr>
                </a:solidFill>
              </a:rPr>
              <a:pPr/>
              <a:t>‹#›</a:t>
            </a:fld>
            <a:endParaRPr lang="en-GB" dirty="0">
              <a:solidFill>
                <a:prstClr val="white">
                  <a:lumMod val="50000"/>
                </a:prstClr>
              </a:solidFill>
            </a:endParaRPr>
          </a:p>
        </p:txBody>
      </p:sp>
      <p:grpSp>
        <p:nvGrpSpPr>
          <p:cNvPr id="17" name="Gruppieren 16"/>
          <p:cNvGrpSpPr/>
          <p:nvPr/>
        </p:nvGrpSpPr>
        <p:grpSpPr>
          <a:xfrm>
            <a:off x="243770" y="48946"/>
            <a:ext cx="11710247" cy="6809055"/>
            <a:chOff x="182826" y="36709"/>
            <a:chExt cx="8782685" cy="5106791"/>
          </a:xfrm>
        </p:grpSpPr>
        <p:cxnSp>
          <p:nvCxnSpPr>
            <p:cNvPr id="18" name="Gerade Verbindung 17"/>
            <p:cNvCxnSpPr/>
            <p:nvPr/>
          </p:nvCxnSpPr>
          <p:spPr>
            <a:xfrm>
              <a:off x="367575" y="36709"/>
              <a:ext cx="0" cy="5106791"/>
            </a:xfrm>
            <a:prstGeom prst="line">
              <a:avLst/>
            </a:prstGeom>
            <a:ln w="9525">
              <a:noFill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20"/>
            <p:cNvCxnSpPr/>
            <p:nvPr/>
          </p:nvCxnSpPr>
          <p:spPr>
            <a:xfrm flipV="1">
              <a:off x="182826" y="4783577"/>
              <a:ext cx="8782685" cy="1"/>
            </a:xfrm>
            <a:prstGeom prst="line">
              <a:avLst/>
            </a:prstGeom>
            <a:ln w="9525">
              <a:noFill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 Verbindung 21"/>
            <p:cNvCxnSpPr/>
            <p:nvPr/>
          </p:nvCxnSpPr>
          <p:spPr>
            <a:xfrm>
              <a:off x="8776425" y="36709"/>
              <a:ext cx="0" cy="5106791"/>
            </a:xfrm>
            <a:prstGeom prst="line">
              <a:avLst/>
            </a:prstGeom>
            <a:ln w="9525">
              <a:noFill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23"/>
            <p:cNvCxnSpPr/>
            <p:nvPr/>
          </p:nvCxnSpPr>
          <p:spPr>
            <a:xfrm flipV="1">
              <a:off x="812055" y="5039714"/>
              <a:ext cx="7258417" cy="1"/>
            </a:xfrm>
            <a:prstGeom prst="line">
              <a:avLst/>
            </a:prstGeom>
            <a:ln w="9525">
              <a:noFill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24"/>
            <p:cNvCxnSpPr/>
            <p:nvPr/>
          </p:nvCxnSpPr>
          <p:spPr>
            <a:xfrm>
              <a:off x="1351328" y="4715849"/>
              <a:ext cx="0" cy="371785"/>
            </a:xfrm>
            <a:prstGeom prst="line">
              <a:avLst/>
            </a:prstGeom>
            <a:ln w="9525">
              <a:noFill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 Verbindung 25"/>
            <p:cNvCxnSpPr/>
            <p:nvPr/>
          </p:nvCxnSpPr>
          <p:spPr>
            <a:xfrm flipV="1">
              <a:off x="182826" y="188161"/>
              <a:ext cx="8782685" cy="1"/>
            </a:xfrm>
            <a:prstGeom prst="line">
              <a:avLst/>
            </a:prstGeom>
            <a:ln w="9525">
              <a:noFill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26"/>
            <p:cNvCxnSpPr/>
            <p:nvPr/>
          </p:nvCxnSpPr>
          <p:spPr>
            <a:xfrm>
              <a:off x="991288" y="4715849"/>
              <a:ext cx="0" cy="371785"/>
            </a:xfrm>
            <a:prstGeom prst="line">
              <a:avLst/>
            </a:prstGeom>
            <a:ln w="9525">
              <a:noFill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30" name="Grafik 29"/>
          <p:cNvPicPr>
            <a:picLocks noChangeAspect="1"/>
          </p:cNvPicPr>
          <p:nvPr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5924" y="6578958"/>
            <a:ext cx="840360" cy="1905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81818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8" r:id="rId1"/>
    <p:sldLayoutId id="2147483869" r:id="rId2"/>
    <p:sldLayoutId id="2147483870" r:id="rId3"/>
    <p:sldLayoutId id="2147483871" r:id="rId4"/>
    <p:sldLayoutId id="2147483872" r:id="rId5"/>
    <p:sldLayoutId id="2147483873" r:id="rId6"/>
    <p:sldLayoutId id="2147483874" r:id="rId7"/>
    <p:sldLayoutId id="2147483875" r:id="rId8"/>
    <p:sldLayoutId id="2147483876" r:id="rId9"/>
    <p:sldLayoutId id="2147483877" r:id="rId10"/>
    <p:sldLayoutId id="2147483878" r:id="rId11"/>
    <p:sldLayoutId id="2147483879" r:id="rId12"/>
    <p:sldLayoutId id="2147483880" r:id="rId13"/>
    <p:sldLayoutId id="2147483881" r:id="rId14"/>
    <p:sldLayoutId id="2147483882" r:id="rId15"/>
    <p:sldLayoutId id="2147483883" r:id="rId16"/>
    <p:sldLayoutId id="2147483884" r:id="rId17"/>
    <p:sldLayoutId id="2147483885" r:id="rId18"/>
    <p:sldLayoutId id="2147483886" r:id="rId19"/>
    <p:sldLayoutId id="2147483887" r:id="rId20"/>
    <p:sldLayoutId id="2147483888" r:id="rId21"/>
    <p:sldLayoutId id="2147483889" r:id="rId2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  <p:txStyles>
    <p:titleStyle>
      <a:lvl1pPr algn="l" defTabSz="914400" rtl="0" eaLnBrk="1" latinLnBrk="0" hangingPunct="1">
        <a:spcBef>
          <a:spcPct val="0"/>
        </a:spcBef>
        <a:buNone/>
        <a:defRPr sz="2400" kern="1200">
          <a:solidFill>
            <a:srgbClr val="003366"/>
          </a:solidFill>
          <a:latin typeface="+mj-lt"/>
          <a:ea typeface="+mj-ea"/>
          <a:cs typeface="+mj-cs"/>
        </a:defRPr>
      </a:lvl1pPr>
    </p:titleStyle>
    <p:bodyStyle>
      <a:lvl1pPr marL="266700" indent="-266700" algn="l" defTabSz="914400" rtl="0" eaLnBrk="1" latinLnBrk="0" hangingPunct="1">
        <a:spcBef>
          <a:spcPts val="4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450850" indent="-184150" algn="l" defTabSz="914400" rtl="0" eaLnBrk="1" latinLnBrk="0" hangingPunct="1">
        <a:spcBef>
          <a:spcPts val="0"/>
        </a:spcBef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628650" indent="-177800" algn="l" defTabSz="914400" rtl="0" eaLnBrk="1" latinLnBrk="0" hangingPunct="1">
        <a:spcBef>
          <a:spcPts val="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806450" indent="-177800" algn="l" defTabSz="914400" rtl="0" eaLnBrk="1" latinLnBrk="0" hangingPunct="1">
        <a:spcBef>
          <a:spcPts val="0"/>
        </a:spcBef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984250" indent="-177800" algn="l" defTabSz="914400" rtl="0" eaLnBrk="1" latinLnBrk="0" hangingPunct="1">
        <a:spcBef>
          <a:spcPts val="0"/>
        </a:spcBef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" name="Gruppieren 22"/>
          <p:cNvGrpSpPr/>
          <p:nvPr/>
        </p:nvGrpSpPr>
        <p:grpSpPr>
          <a:xfrm>
            <a:off x="243770" y="48946"/>
            <a:ext cx="11710247" cy="6809055"/>
            <a:chOff x="182826" y="36709"/>
            <a:chExt cx="8782685" cy="5106791"/>
          </a:xfrm>
        </p:grpSpPr>
        <p:cxnSp>
          <p:nvCxnSpPr>
            <p:cNvPr id="9" name="Gerade Verbindung 8"/>
            <p:cNvCxnSpPr/>
            <p:nvPr/>
          </p:nvCxnSpPr>
          <p:spPr>
            <a:xfrm>
              <a:off x="367575" y="36709"/>
              <a:ext cx="0" cy="5106791"/>
            </a:xfrm>
            <a:prstGeom prst="line">
              <a:avLst/>
            </a:prstGeom>
            <a:ln w="9525">
              <a:noFill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 Verbindung 10"/>
            <p:cNvCxnSpPr/>
            <p:nvPr/>
          </p:nvCxnSpPr>
          <p:spPr>
            <a:xfrm flipV="1">
              <a:off x="182826" y="4783577"/>
              <a:ext cx="8782685" cy="1"/>
            </a:xfrm>
            <a:prstGeom prst="line">
              <a:avLst/>
            </a:prstGeom>
            <a:ln w="9525">
              <a:noFill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Gerade Verbindung 12"/>
            <p:cNvCxnSpPr/>
            <p:nvPr/>
          </p:nvCxnSpPr>
          <p:spPr>
            <a:xfrm>
              <a:off x="8776425" y="36709"/>
              <a:ext cx="0" cy="5106791"/>
            </a:xfrm>
            <a:prstGeom prst="line">
              <a:avLst/>
            </a:prstGeom>
            <a:ln w="9525">
              <a:noFill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 Verbindung 13"/>
            <p:cNvCxnSpPr/>
            <p:nvPr/>
          </p:nvCxnSpPr>
          <p:spPr>
            <a:xfrm flipV="1">
              <a:off x="812055" y="5039714"/>
              <a:ext cx="7258417" cy="1"/>
            </a:xfrm>
            <a:prstGeom prst="line">
              <a:avLst/>
            </a:prstGeom>
            <a:ln w="9525">
              <a:noFill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Gerade Verbindung 15"/>
            <p:cNvCxnSpPr/>
            <p:nvPr/>
          </p:nvCxnSpPr>
          <p:spPr>
            <a:xfrm>
              <a:off x="1351328" y="4715849"/>
              <a:ext cx="0" cy="371785"/>
            </a:xfrm>
            <a:prstGeom prst="line">
              <a:avLst/>
            </a:prstGeom>
            <a:ln w="9525">
              <a:noFill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18"/>
            <p:cNvCxnSpPr/>
            <p:nvPr/>
          </p:nvCxnSpPr>
          <p:spPr>
            <a:xfrm flipV="1">
              <a:off x="182826" y="188161"/>
              <a:ext cx="8782685" cy="1"/>
            </a:xfrm>
            <a:prstGeom prst="line">
              <a:avLst/>
            </a:prstGeom>
            <a:ln w="9525">
              <a:noFill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19"/>
            <p:cNvCxnSpPr/>
            <p:nvPr/>
          </p:nvCxnSpPr>
          <p:spPr>
            <a:xfrm>
              <a:off x="991288" y="4715849"/>
              <a:ext cx="0" cy="371785"/>
            </a:xfrm>
            <a:prstGeom prst="line">
              <a:avLst/>
            </a:prstGeom>
            <a:ln w="9525">
              <a:noFill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490100" y="396543"/>
            <a:ext cx="11211800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GB" noProof="0" dirty="0" err="1"/>
              <a:t>Titelmasterformat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90100" y="1600202"/>
            <a:ext cx="11211800" cy="45259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 err="1"/>
              <a:t>Textmasterformat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  <a:p>
            <a:pPr lvl="1"/>
            <a:r>
              <a:rPr lang="en-GB" noProof="0" dirty="0" err="1"/>
              <a:t>Zwei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2"/>
            <a:r>
              <a:rPr lang="en-GB" noProof="0" dirty="0" err="1"/>
              <a:t>Drit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3"/>
            <a:r>
              <a:rPr lang="en-GB" noProof="0" dirty="0" err="1"/>
              <a:t>Vier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4"/>
            <a:r>
              <a:rPr lang="en-GB" noProof="0" dirty="0" err="1"/>
              <a:t>Fünf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10332882" y="6597269"/>
            <a:ext cx="605935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BISansCond" panose="02000006050000020004" pitchFamily="2" charset="0"/>
              </a:defRPr>
            </a:lvl1pPr>
          </a:lstStyle>
          <a:p>
            <a:fld id="{59D6F760-3D0A-42A5-9C72-D5981AC53901}" type="datetime1">
              <a:rPr lang="en-GB" smtClean="0"/>
              <a:t>14/12/2021</a:t>
            </a:fld>
            <a:endParaRPr lang="en-GB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801771" y="6597269"/>
            <a:ext cx="8186291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0">
                <a:solidFill>
                  <a:schemeClr val="bg1">
                    <a:lumMod val="50000"/>
                  </a:schemeClr>
                </a:solidFill>
                <a:latin typeface="BISansCond" panose="02000006050000020004" pitchFamily="2" charset="0"/>
              </a:defRPr>
            </a:lvl1pPr>
          </a:lstStyle>
          <a:p>
            <a:endParaRPr lang="en-GB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554424" y="6597269"/>
            <a:ext cx="147476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BISansCond" panose="02000006050000020004" pitchFamily="2" charset="0"/>
              </a:defRPr>
            </a:lvl1pPr>
          </a:lstStyle>
          <a:p>
            <a:fld id="{143B55C4-4F5A-416B-997D-6CE47EB0A945}" type="slidenum">
              <a:rPr lang="en-GB" smtClean="0"/>
              <a:pPr/>
              <a:t>‹#›</a:t>
            </a:fld>
            <a:endParaRPr lang="en-GB" dirty="0"/>
          </a:p>
        </p:txBody>
      </p:sp>
      <p:grpSp>
        <p:nvGrpSpPr>
          <p:cNvPr id="17" name="Gruppieren 16"/>
          <p:cNvGrpSpPr/>
          <p:nvPr/>
        </p:nvGrpSpPr>
        <p:grpSpPr>
          <a:xfrm>
            <a:off x="243770" y="48946"/>
            <a:ext cx="11710247" cy="6809055"/>
            <a:chOff x="182826" y="36709"/>
            <a:chExt cx="8782685" cy="5106791"/>
          </a:xfrm>
        </p:grpSpPr>
        <p:cxnSp>
          <p:nvCxnSpPr>
            <p:cNvPr id="18" name="Gerade Verbindung 17"/>
            <p:cNvCxnSpPr/>
            <p:nvPr/>
          </p:nvCxnSpPr>
          <p:spPr>
            <a:xfrm>
              <a:off x="367575" y="36709"/>
              <a:ext cx="0" cy="5106791"/>
            </a:xfrm>
            <a:prstGeom prst="line">
              <a:avLst/>
            </a:prstGeom>
            <a:ln w="9525">
              <a:noFill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20"/>
            <p:cNvCxnSpPr/>
            <p:nvPr/>
          </p:nvCxnSpPr>
          <p:spPr>
            <a:xfrm flipV="1">
              <a:off x="182826" y="4783577"/>
              <a:ext cx="8782685" cy="1"/>
            </a:xfrm>
            <a:prstGeom prst="line">
              <a:avLst/>
            </a:prstGeom>
            <a:ln w="9525">
              <a:noFill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 Verbindung 21"/>
            <p:cNvCxnSpPr/>
            <p:nvPr/>
          </p:nvCxnSpPr>
          <p:spPr>
            <a:xfrm>
              <a:off x="8776425" y="36709"/>
              <a:ext cx="0" cy="5106791"/>
            </a:xfrm>
            <a:prstGeom prst="line">
              <a:avLst/>
            </a:prstGeom>
            <a:ln w="9525">
              <a:noFill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23"/>
            <p:cNvCxnSpPr/>
            <p:nvPr/>
          </p:nvCxnSpPr>
          <p:spPr>
            <a:xfrm flipV="1">
              <a:off x="812055" y="5039714"/>
              <a:ext cx="7258417" cy="1"/>
            </a:xfrm>
            <a:prstGeom prst="line">
              <a:avLst/>
            </a:prstGeom>
            <a:ln w="9525">
              <a:noFill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24"/>
            <p:cNvCxnSpPr/>
            <p:nvPr/>
          </p:nvCxnSpPr>
          <p:spPr>
            <a:xfrm>
              <a:off x="1351328" y="4715849"/>
              <a:ext cx="0" cy="371785"/>
            </a:xfrm>
            <a:prstGeom prst="line">
              <a:avLst/>
            </a:prstGeom>
            <a:ln w="9525">
              <a:noFill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 Verbindung 25"/>
            <p:cNvCxnSpPr/>
            <p:nvPr/>
          </p:nvCxnSpPr>
          <p:spPr>
            <a:xfrm flipV="1">
              <a:off x="182826" y="188161"/>
              <a:ext cx="8782685" cy="1"/>
            </a:xfrm>
            <a:prstGeom prst="line">
              <a:avLst/>
            </a:prstGeom>
            <a:ln w="9525">
              <a:noFill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26"/>
            <p:cNvCxnSpPr/>
            <p:nvPr/>
          </p:nvCxnSpPr>
          <p:spPr>
            <a:xfrm>
              <a:off x="991288" y="4715849"/>
              <a:ext cx="0" cy="371785"/>
            </a:xfrm>
            <a:prstGeom prst="line">
              <a:avLst/>
            </a:prstGeom>
            <a:ln w="9525">
              <a:noFill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30" name="Grafik 29"/>
          <p:cNvPicPr>
            <a:picLocks noChangeAspect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5924" y="6578958"/>
            <a:ext cx="840360" cy="1905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12945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3" r:id="rId1"/>
    <p:sldLayoutId id="2147483914" r:id="rId2"/>
    <p:sldLayoutId id="2147483915" r:id="rId3"/>
    <p:sldLayoutId id="2147483916" r:id="rId4"/>
    <p:sldLayoutId id="2147483917" r:id="rId5"/>
    <p:sldLayoutId id="2147483918" r:id="rId6"/>
    <p:sldLayoutId id="2147483919" r:id="rId7"/>
    <p:sldLayoutId id="2147483920" r:id="rId8"/>
    <p:sldLayoutId id="2147483921" r:id="rId9"/>
    <p:sldLayoutId id="2147483922" r:id="rId10"/>
    <p:sldLayoutId id="2147483923" r:id="rId11"/>
    <p:sldLayoutId id="2147483924" r:id="rId12"/>
    <p:sldLayoutId id="2147483925" r:id="rId13"/>
    <p:sldLayoutId id="2147483926" r:id="rId14"/>
    <p:sldLayoutId id="2147483927" r:id="rId15"/>
    <p:sldLayoutId id="2147483928" r:id="rId16"/>
    <p:sldLayoutId id="2147483929" r:id="rId17"/>
    <p:sldLayoutId id="2147483930" r:id="rId18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  <p:txStyles>
    <p:titleStyle>
      <a:lvl1pPr algn="l" defTabSz="914400" rtl="0" eaLnBrk="1" latinLnBrk="0" hangingPunct="1">
        <a:spcBef>
          <a:spcPct val="0"/>
        </a:spcBef>
        <a:buNone/>
        <a:defRPr sz="2400" kern="1200">
          <a:solidFill>
            <a:srgbClr val="003366"/>
          </a:solidFill>
          <a:latin typeface="+mj-lt"/>
          <a:ea typeface="+mj-ea"/>
          <a:cs typeface="+mj-cs"/>
        </a:defRPr>
      </a:lvl1pPr>
    </p:titleStyle>
    <p:bodyStyle>
      <a:lvl1pPr marL="266700" indent="-266700" algn="l" defTabSz="914400" rtl="0" eaLnBrk="1" latinLnBrk="0" hangingPunct="1">
        <a:spcBef>
          <a:spcPts val="4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450850" indent="-184150" algn="l" defTabSz="914400" rtl="0" eaLnBrk="1" latinLnBrk="0" hangingPunct="1">
        <a:spcBef>
          <a:spcPts val="0"/>
        </a:spcBef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628650" indent="-177800" algn="l" defTabSz="914400" rtl="0" eaLnBrk="1" latinLnBrk="0" hangingPunct="1">
        <a:spcBef>
          <a:spcPts val="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806450" indent="-177800" algn="l" defTabSz="914400" rtl="0" eaLnBrk="1" latinLnBrk="0" hangingPunct="1">
        <a:spcBef>
          <a:spcPts val="0"/>
        </a:spcBef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984250" indent="-177800" algn="l" defTabSz="914400" rtl="0" eaLnBrk="1" latinLnBrk="0" hangingPunct="1">
        <a:spcBef>
          <a:spcPts val="0"/>
        </a:spcBef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" name="Gruppieren 22"/>
          <p:cNvGrpSpPr/>
          <p:nvPr/>
        </p:nvGrpSpPr>
        <p:grpSpPr>
          <a:xfrm>
            <a:off x="243770" y="48956"/>
            <a:ext cx="11710247" cy="6809055"/>
            <a:chOff x="182826" y="36709"/>
            <a:chExt cx="8782685" cy="5106791"/>
          </a:xfrm>
        </p:grpSpPr>
        <p:cxnSp>
          <p:nvCxnSpPr>
            <p:cNvPr id="9" name="Gerade Verbindung 8"/>
            <p:cNvCxnSpPr/>
            <p:nvPr/>
          </p:nvCxnSpPr>
          <p:spPr>
            <a:xfrm>
              <a:off x="367575" y="36709"/>
              <a:ext cx="0" cy="5106791"/>
            </a:xfrm>
            <a:prstGeom prst="line">
              <a:avLst/>
            </a:prstGeom>
            <a:ln w="9525">
              <a:noFill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 Verbindung 10"/>
            <p:cNvCxnSpPr/>
            <p:nvPr/>
          </p:nvCxnSpPr>
          <p:spPr>
            <a:xfrm flipV="1">
              <a:off x="182826" y="4783577"/>
              <a:ext cx="8782685" cy="1"/>
            </a:xfrm>
            <a:prstGeom prst="line">
              <a:avLst/>
            </a:prstGeom>
            <a:ln w="9525">
              <a:noFill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Gerade Verbindung 12"/>
            <p:cNvCxnSpPr/>
            <p:nvPr/>
          </p:nvCxnSpPr>
          <p:spPr>
            <a:xfrm>
              <a:off x="8776425" y="36709"/>
              <a:ext cx="0" cy="5106791"/>
            </a:xfrm>
            <a:prstGeom prst="line">
              <a:avLst/>
            </a:prstGeom>
            <a:ln w="9525">
              <a:noFill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 Verbindung 13"/>
            <p:cNvCxnSpPr/>
            <p:nvPr/>
          </p:nvCxnSpPr>
          <p:spPr>
            <a:xfrm flipV="1">
              <a:off x="812055" y="5039714"/>
              <a:ext cx="7258417" cy="1"/>
            </a:xfrm>
            <a:prstGeom prst="line">
              <a:avLst/>
            </a:prstGeom>
            <a:ln w="9525">
              <a:noFill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Gerade Verbindung 15"/>
            <p:cNvCxnSpPr/>
            <p:nvPr/>
          </p:nvCxnSpPr>
          <p:spPr>
            <a:xfrm>
              <a:off x="1351328" y="4715849"/>
              <a:ext cx="0" cy="371785"/>
            </a:xfrm>
            <a:prstGeom prst="line">
              <a:avLst/>
            </a:prstGeom>
            <a:ln w="9525">
              <a:noFill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18"/>
            <p:cNvCxnSpPr/>
            <p:nvPr/>
          </p:nvCxnSpPr>
          <p:spPr>
            <a:xfrm flipV="1">
              <a:off x="182826" y="188161"/>
              <a:ext cx="8782685" cy="1"/>
            </a:xfrm>
            <a:prstGeom prst="line">
              <a:avLst/>
            </a:prstGeom>
            <a:ln w="9525">
              <a:noFill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19"/>
            <p:cNvCxnSpPr/>
            <p:nvPr/>
          </p:nvCxnSpPr>
          <p:spPr>
            <a:xfrm>
              <a:off x="991288" y="4715849"/>
              <a:ext cx="0" cy="371785"/>
            </a:xfrm>
            <a:prstGeom prst="line">
              <a:avLst/>
            </a:prstGeom>
            <a:ln w="9525">
              <a:noFill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490100" y="396543"/>
            <a:ext cx="11211800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GB" noProof="0" dirty="0" err="1"/>
              <a:t>Titelmasterformat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90100" y="1600202"/>
            <a:ext cx="11211800" cy="45259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 err="1"/>
              <a:t>Textmasterformat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  <a:p>
            <a:pPr lvl="1"/>
            <a:r>
              <a:rPr lang="en-GB" noProof="0" dirty="0" err="1"/>
              <a:t>Zwei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2"/>
            <a:r>
              <a:rPr lang="en-GB" noProof="0" dirty="0" err="1"/>
              <a:t>Drit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3"/>
            <a:r>
              <a:rPr lang="en-GB" noProof="0" dirty="0" err="1"/>
              <a:t>Vier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4"/>
            <a:r>
              <a:rPr lang="en-GB" noProof="0" dirty="0" err="1"/>
              <a:t>Fünf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10332887" y="6597269"/>
            <a:ext cx="605935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BISansCond" panose="02000006050000020004" pitchFamily="2" charset="0"/>
              </a:defRPr>
            </a:lvl1pPr>
          </a:lstStyle>
          <a:p>
            <a:fld id="{59D6F760-3D0A-42A5-9C72-D5981AC53901}" type="datetime1">
              <a:rPr lang="en-GB" smtClean="0">
                <a:solidFill>
                  <a:prstClr val="white">
                    <a:lumMod val="50000"/>
                  </a:prstClr>
                </a:solidFill>
                <a:cs typeface="Arial" pitchFamily="34" charset="0"/>
              </a:rPr>
              <a:pPr/>
              <a:t>14/12/2021</a:t>
            </a:fld>
            <a:endParaRPr lang="en-GB" dirty="0">
              <a:solidFill>
                <a:prstClr val="white">
                  <a:lumMod val="50000"/>
                </a:prstClr>
              </a:solidFill>
              <a:cs typeface="Arial" pitchFamily="34" charset="0"/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801771" y="6597269"/>
            <a:ext cx="8186291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0">
                <a:solidFill>
                  <a:schemeClr val="bg1">
                    <a:lumMod val="50000"/>
                  </a:schemeClr>
                </a:solidFill>
                <a:latin typeface="BISansCond" panose="02000006050000020004" pitchFamily="2" charset="0"/>
              </a:defRPr>
            </a:lvl1pPr>
          </a:lstStyle>
          <a:p>
            <a:endParaRPr lang="en-GB" dirty="0">
              <a:solidFill>
                <a:prstClr val="white">
                  <a:lumMod val="50000"/>
                </a:prstClr>
              </a:solidFill>
              <a:cs typeface="Arial" pitchFamily="34" charset="0"/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554424" y="6597269"/>
            <a:ext cx="147476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BISansCond" panose="02000006050000020004" pitchFamily="2" charset="0"/>
              </a:defRPr>
            </a:lvl1pPr>
          </a:lstStyle>
          <a:p>
            <a:fld id="{143B55C4-4F5A-416B-997D-6CE47EB0A945}" type="slidenum">
              <a:rPr lang="en-GB" smtClean="0">
                <a:solidFill>
                  <a:prstClr val="white">
                    <a:lumMod val="50000"/>
                  </a:prstClr>
                </a:solidFill>
                <a:cs typeface="Arial" pitchFamily="34" charset="0"/>
              </a:rPr>
              <a:pPr/>
              <a:t>‹#›</a:t>
            </a:fld>
            <a:endParaRPr lang="en-GB" dirty="0">
              <a:solidFill>
                <a:prstClr val="white">
                  <a:lumMod val="50000"/>
                </a:prstClr>
              </a:solidFill>
              <a:cs typeface="Arial" pitchFamily="34" charset="0"/>
            </a:endParaRPr>
          </a:p>
        </p:txBody>
      </p:sp>
      <p:grpSp>
        <p:nvGrpSpPr>
          <p:cNvPr id="17" name="Gruppieren 16"/>
          <p:cNvGrpSpPr/>
          <p:nvPr/>
        </p:nvGrpSpPr>
        <p:grpSpPr>
          <a:xfrm>
            <a:off x="243770" y="48956"/>
            <a:ext cx="11710247" cy="6809055"/>
            <a:chOff x="182826" y="36709"/>
            <a:chExt cx="8782685" cy="5106791"/>
          </a:xfrm>
        </p:grpSpPr>
        <p:cxnSp>
          <p:nvCxnSpPr>
            <p:cNvPr id="18" name="Gerade Verbindung 17"/>
            <p:cNvCxnSpPr/>
            <p:nvPr/>
          </p:nvCxnSpPr>
          <p:spPr>
            <a:xfrm>
              <a:off x="367575" y="36709"/>
              <a:ext cx="0" cy="5106791"/>
            </a:xfrm>
            <a:prstGeom prst="line">
              <a:avLst/>
            </a:prstGeom>
            <a:ln w="9525">
              <a:noFill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20"/>
            <p:cNvCxnSpPr/>
            <p:nvPr/>
          </p:nvCxnSpPr>
          <p:spPr>
            <a:xfrm flipV="1">
              <a:off x="182826" y="4783577"/>
              <a:ext cx="8782685" cy="1"/>
            </a:xfrm>
            <a:prstGeom prst="line">
              <a:avLst/>
            </a:prstGeom>
            <a:ln w="9525">
              <a:noFill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 Verbindung 21"/>
            <p:cNvCxnSpPr/>
            <p:nvPr/>
          </p:nvCxnSpPr>
          <p:spPr>
            <a:xfrm>
              <a:off x="8776425" y="36709"/>
              <a:ext cx="0" cy="5106791"/>
            </a:xfrm>
            <a:prstGeom prst="line">
              <a:avLst/>
            </a:prstGeom>
            <a:ln w="9525">
              <a:noFill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23"/>
            <p:cNvCxnSpPr/>
            <p:nvPr/>
          </p:nvCxnSpPr>
          <p:spPr>
            <a:xfrm flipV="1">
              <a:off x="812055" y="5039714"/>
              <a:ext cx="7258417" cy="1"/>
            </a:xfrm>
            <a:prstGeom prst="line">
              <a:avLst/>
            </a:prstGeom>
            <a:ln w="9525">
              <a:noFill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24"/>
            <p:cNvCxnSpPr/>
            <p:nvPr/>
          </p:nvCxnSpPr>
          <p:spPr>
            <a:xfrm>
              <a:off x="1351328" y="4715849"/>
              <a:ext cx="0" cy="371785"/>
            </a:xfrm>
            <a:prstGeom prst="line">
              <a:avLst/>
            </a:prstGeom>
            <a:ln w="9525">
              <a:noFill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 Verbindung 25"/>
            <p:cNvCxnSpPr/>
            <p:nvPr/>
          </p:nvCxnSpPr>
          <p:spPr>
            <a:xfrm flipV="1">
              <a:off x="182826" y="188161"/>
              <a:ext cx="8782685" cy="1"/>
            </a:xfrm>
            <a:prstGeom prst="line">
              <a:avLst/>
            </a:prstGeom>
            <a:ln w="9525">
              <a:noFill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26"/>
            <p:cNvCxnSpPr/>
            <p:nvPr/>
          </p:nvCxnSpPr>
          <p:spPr>
            <a:xfrm>
              <a:off x="991288" y="4715849"/>
              <a:ext cx="0" cy="371785"/>
            </a:xfrm>
            <a:prstGeom prst="line">
              <a:avLst/>
            </a:prstGeom>
            <a:ln w="9525">
              <a:noFill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30" name="Grafik 29"/>
          <p:cNvPicPr>
            <a:picLocks noChangeAspect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5924" y="6578970"/>
            <a:ext cx="840360" cy="1905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00895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3" r:id="rId1"/>
    <p:sldLayoutId id="2147483934" r:id="rId2"/>
    <p:sldLayoutId id="2147483935" r:id="rId3"/>
    <p:sldLayoutId id="2147483936" r:id="rId4"/>
    <p:sldLayoutId id="2147483937" r:id="rId5"/>
    <p:sldLayoutId id="2147483938" r:id="rId6"/>
    <p:sldLayoutId id="2147483939" r:id="rId7"/>
    <p:sldLayoutId id="2147483940" r:id="rId8"/>
    <p:sldLayoutId id="2147483941" r:id="rId9"/>
    <p:sldLayoutId id="2147483942" r:id="rId10"/>
    <p:sldLayoutId id="2147483943" r:id="rId11"/>
    <p:sldLayoutId id="2147483944" r:id="rId12"/>
    <p:sldLayoutId id="2147483945" r:id="rId13"/>
    <p:sldLayoutId id="2147483946" r:id="rId14"/>
    <p:sldLayoutId id="2147483947" r:id="rId15"/>
    <p:sldLayoutId id="2147483948" r:id="rId16"/>
    <p:sldLayoutId id="2147483949" r:id="rId17"/>
    <p:sldLayoutId id="2147483950" r:id="rId18"/>
    <p:sldLayoutId id="2147484121" r:id="rId19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  <p:txStyles>
    <p:titleStyle>
      <a:lvl1pPr algn="l" defTabSz="914400" rtl="0" eaLnBrk="1" latinLnBrk="0" hangingPunct="1">
        <a:spcBef>
          <a:spcPct val="0"/>
        </a:spcBef>
        <a:buNone/>
        <a:defRPr sz="2400" kern="1200">
          <a:solidFill>
            <a:srgbClr val="003366"/>
          </a:solidFill>
          <a:latin typeface="+mj-lt"/>
          <a:ea typeface="+mj-ea"/>
          <a:cs typeface="+mj-cs"/>
        </a:defRPr>
      </a:lvl1pPr>
    </p:titleStyle>
    <p:bodyStyle>
      <a:lvl1pPr marL="266700" indent="-266700" algn="l" defTabSz="914400" rtl="0" eaLnBrk="1" latinLnBrk="0" hangingPunct="1">
        <a:spcBef>
          <a:spcPts val="4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450850" indent="-184150" algn="l" defTabSz="914400" rtl="0" eaLnBrk="1" latinLnBrk="0" hangingPunct="1">
        <a:spcBef>
          <a:spcPts val="0"/>
        </a:spcBef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628650" indent="-177800" algn="l" defTabSz="914400" rtl="0" eaLnBrk="1" latinLnBrk="0" hangingPunct="1">
        <a:spcBef>
          <a:spcPts val="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806450" indent="-177800" algn="l" defTabSz="914400" rtl="0" eaLnBrk="1" latinLnBrk="0" hangingPunct="1">
        <a:spcBef>
          <a:spcPts val="0"/>
        </a:spcBef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984250" indent="-177800" algn="l" defTabSz="914400" rtl="0" eaLnBrk="1" latinLnBrk="0" hangingPunct="1">
        <a:spcBef>
          <a:spcPts val="0"/>
        </a:spcBef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47.xml"/><Relationship Id="rId4" Type="http://schemas.openxmlformats.org/officeDocument/2006/relationships/hyperlink" Target="https://attendee.gotowebinar.com/register/7041767664078733323?source=SOA-website-TSLA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投影片編號版面配置區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D12F85-494B-4739-9368-91572E8252EA}" type="slidenum">
              <a:rPr lang="en-US" smtClean="0"/>
              <a:pPr/>
              <a:t>1</a:t>
            </a:fld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24759098"/>
              </p:ext>
            </p:extLst>
          </p:nvPr>
        </p:nvGraphicFramePr>
        <p:xfrm>
          <a:off x="431754" y="2348975"/>
          <a:ext cx="11270146" cy="3160038"/>
        </p:xfrm>
        <a:graphic>
          <a:graphicData uri="http://schemas.openxmlformats.org/drawingml/2006/table">
            <a:tbl>
              <a:tblPr firstRow="1" bandRow="1">
                <a:tableStyleId>{6E25E649-3F16-4E02-A733-19D2CDBF48F0}</a:tableStyleId>
              </a:tblPr>
              <a:tblGrid>
                <a:gridCol w="190663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97363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16954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220329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738386"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180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微軟正黑體" panose="020B0604030504040204" pitchFamily="34" charset="-120"/>
                          <a:cs typeface="Arial" panose="020B0604020202020204" pitchFamily="34" charset="0"/>
                        </a:rPr>
                        <a:t>Time</a:t>
                      </a:r>
                      <a:endParaRPr lang="zh-TW" altLang="en-US" sz="1800" b="1" dirty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微軟正黑體" panose="020B0604030504040204" pitchFamily="34" charset="-120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180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微軟正黑體" panose="020B0604030504040204" pitchFamily="34" charset="-120"/>
                          <a:cs typeface="Arial" panose="020B0604020202020204" pitchFamily="34" charset="0"/>
                        </a:rPr>
                        <a:t>Topic</a:t>
                      </a:r>
                      <a:endParaRPr lang="zh-TW" altLang="en-US" sz="1800" b="1" dirty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微軟正黑體" panose="020B0604030504040204" pitchFamily="34" charset="-120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180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微軟正黑體" panose="020B0604030504040204" pitchFamily="34" charset="-120"/>
                          <a:cs typeface="Arial" panose="020B0604020202020204" pitchFamily="34" charset="0"/>
                        </a:rPr>
                        <a:t>Speaker</a:t>
                      </a:r>
                      <a:endParaRPr lang="zh-TW" altLang="en-US" sz="1800" b="1" dirty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微軟正黑體" panose="020B0604030504040204" pitchFamily="34" charset="-120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180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微軟正黑體" panose="020B0604030504040204" pitchFamily="34" charset="-120"/>
                          <a:cs typeface="Arial" panose="020B0604020202020204" pitchFamily="34" charset="0"/>
                        </a:rPr>
                        <a:t>Moderator</a:t>
                      </a:r>
                      <a:endParaRPr lang="zh-TW" altLang="en-US" sz="1800" b="1" dirty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微軟正黑體" panose="020B0604030504040204" pitchFamily="34" charset="-120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38386"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1800" b="1" dirty="0">
                          <a:solidFill>
                            <a:srgbClr val="080808"/>
                          </a:solidFill>
                          <a:latin typeface="Arial" panose="020B0604020202020204" pitchFamily="34" charset="0"/>
                          <a:ea typeface="微軟正黑體" panose="020B0604030504040204" pitchFamily="34" charset="-120"/>
                          <a:cs typeface="Arial" panose="020B0604020202020204" pitchFamily="34" charset="0"/>
                        </a:rPr>
                        <a:t>12:30 - 12:35</a:t>
                      </a:r>
                      <a:endParaRPr lang="zh-TW" altLang="en-US" sz="1800" b="1" dirty="0">
                        <a:solidFill>
                          <a:srgbClr val="080808"/>
                        </a:solidFill>
                        <a:latin typeface="Arial" panose="020B0604020202020204" pitchFamily="34" charset="0"/>
                        <a:ea typeface="微軟正黑體" panose="020B0604030504040204" pitchFamily="34" charset="-120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1800" b="1" dirty="0">
                          <a:solidFill>
                            <a:srgbClr val="080808"/>
                          </a:solidFill>
                          <a:latin typeface="Arial" panose="020B0604020202020204" pitchFamily="34" charset="0"/>
                          <a:ea typeface="微軟正黑體" panose="020B0604030504040204" pitchFamily="34" charset="-120"/>
                          <a:cs typeface="Arial" panose="020B0604020202020204" pitchFamily="34" charset="0"/>
                        </a:rPr>
                        <a:t>Opening</a:t>
                      </a:r>
                    </a:p>
                  </a:txBody>
                  <a:tcPr marL="121920" marR="121920" marT="60960" marB="6096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TW" altLang="en-US" sz="18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微軟正黑體" panose="020B0604030504040204" pitchFamily="34" charset="-120"/>
                          <a:cs typeface="Arial" panose="020B0604020202020204" pitchFamily="34" charset="0"/>
                        </a:rPr>
                        <a:t>謝宜璋 醫師</a:t>
                      </a:r>
                      <a:endParaRPr lang="en-US" altLang="zh-TW" sz="18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微軟正黑體" panose="020B0604030504040204" pitchFamily="34" charset="-120"/>
                        <a:cs typeface="Arial" panose="020B0604020202020204" pitchFamily="34" charset="0"/>
                      </a:endParaRPr>
                    </a:p>
                    <a:p>
                      <a:pPr algn="ctr"/>
                      <a:r>
                        <a:rPr lang="zh-TW" altLang="en-US" sz="18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微軟正黑體" panose="020B0604030504040204" pitchFamily="34" charset="-120"/>
                          <a:cs typeface="Arial" panose="020B0604020202020204" pitchFamily="34" charset="0"/>
                        </a:rPr>
                        <a:t>林口長庚心臟內科</a:t>
                      </a:r>
                      <a:endParaRPr lang="en-US" altLang="zh-TW" sz="18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微軟正黑體" panose="020B0604030504040204" pitchFamily="34" charset="-120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algn="ctr"/>
                      <a:r>
                        <a:rPr lang="zh-TW" altLang="en-US" sz="18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微軟正黑體" panose="020B0604030504040204" pitchFamily="34" charset="-120"/>
                          <a:cs typeface="Arial" panose="020B0604020202020204" pitchFamily="34" charset="0"/>
                        </a:rPr>
                        <a:t>黃柏勳 醫師</a:t>
                      </a:r>
                      <a:endParaRPr lang="en-US" altLang="zh-TW" sz="18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微軟正黑體" panose="020B0604030504040204" pitchFamily="34" charset="-120"/>
                        <a:cs typeface="Arial" panose="020B0604020202020204" pitchFamily="34" charset="0"/>
                      </a:endParaRPr>
                    </a:p>
                    <a:p>
                      <a:pPr algn="ctr"/>
                      <a:r>
                        <a:rPr lang="zh-TW" altLang="en-US" sz="18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微軟正黑體" panose="020B0604030504040204" pitchFamily="34" charset="-120"/>
                          <a:cs typeface="Arial" panose="020B0604020202020204" pitchFamily="34" charset="0"/>
                        </a:rPr>
                        <a:t>林口長庚心臟內科</a:t>
                      </a:r>
                      <a:endParaRPr lang="en-US" altLang="zh-TW" sz="18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微軟正黑體" panose="020B0604030504040204" pitchFamily="34" charset="-120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38386"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1800" b="1" dirty="0">
                          <a:solidFill>
                            <a:srgbClr val="080808"/>
                          </a:solidFill>
                          <a:latin typeface="Arial" panose="020B0604020202020204" pitchFamily="34" charset="0"/>
                          <a:ea typeface="微軟正黑體" panose="020B0604030504040204" pitchFamily="34" charset="-120"/>
                          <a:cs typeface="Arial" panose="020B0604020202020204" pitchFamily="34" charset="0"/>
                        </a:rPr>
                        <a:t>12:35 – 13:10</a:t>
                      </a:r>
                      <a:endParaRPr lang="zh-TW" altLang="en-US" sz="1800" b="1" dirty="0">
                        <a:solidFill>
                          <a:srgbClr val="080808"/>
                        </a:solidFill>
                        <a:latin typeface="Arial" panose="020B0604020202020204" pitchFamily="34" charset="0"/>
                        <a:ea typeface="微軟正黑體" panose="020B0604030504040204" pitchFamily="34" charset="-120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en-US" altLang="zh-TW" sz="1800" b="1" kern="1200" dirty="0">
                          <a:solidFill>
                            <a:srgbClr val="080808"/>
                          </a:solidFill>
                          <a:latin typeface="Arial" panose="020B0604020202020204" pitchFamily="34" charset="0"/>
                          <a:ea typeface="微軟正黑體" panose="020B0604030504040204" pitchFamily="34" charset="-120"/>
                          <a:cs typeface="Arial" panose="020B0604020202020204" pitchFamily="34" charset="0"/>
                        </a:rPr>
                        <a:t>Risk Factors for Developing </a:t>
                      </a:r>
                      <a:r>
                        <a:rPr lang="en-US" altLang="zh-TW" sz="1800" b="1" kern="1200" dirty="0" err="1">
                          <a:solidFill>
                            <a:srgbClr val="080808"/>
                          </a:solidFill>
                          <a:latin typeface="Arial" panose="020B0604020202020204" pitchFamily="34" charset="0"/>
                          <a:ea typeface="微軟正黑體" panose="020B0604030504040204" pitchFamily="34" charset="-120"/>
                          <a:cs typeface="Arial" panose="020B0604020202020204" pitchFamily="34" charset="0"/>
                        </a:rPr>
                        <a:t>HFrEF</a:t>
                      </a:r>
                      <a:r>
                        <a:rPr lang="en-US" altLang="zh-TW" sz="1800" b="1" kern="1200" dirty="0">
                          <a:solidFill>
                            <a:srgbClr val="080808"/>
                          </a:solidFill>
                          <a:latin typeface="Arial" panose="020B0604020202020204" pitchFamily="34" charset="0"/>
                          <a:ea typeface="微軟正黑體" panose="020B0604030504040204" pitchFamily="34" charset="-120"/>
                          <a:cs typeface="Arial" panose="020B0604020202020204" pitchFamily="34" charset="0"/>
                        </a:rPr>
                        <a:t> : How to Detect and Prevent ? </a:t>
                      </a:r>
                    </a:p>
                  </a:txBody>
                  <a:tcPr marL="121920" marR="121920" marT="60960" marB="6096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TW" altLang="en-US" sz="18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微軟正黑體" panose="020B0604030504040204" pitchFamily="34" charset="-120"/>
                          <a:cs typeface="Arial" panose="020B0604020202020204" pitchFamily="34" charset="0"/>
                        </a:rPr>
                        <a:t>洪崇烈 醫師</a:t>
                      </a:r>
                      <a:endParaRPr lang="en-US" altLang="zh-TW" sz="18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微軟正黑體" panose="020B0604030504040204" pitchFamily="34" charset="-120"/>
                        <a:cs typeface="Arial" panose="020B0604020202020204" pitchFamily="34" charset="0"/>
                      </a:endParaRPr>
                    </a:p>
                    <a:p>
                      <a:pPr algn="ctr"/>
                      <a:r>
                        <a:rPr lang="zh-TW" altLang="en-US" sz="18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微軟正黑體" panose="020B0604030504040204" pitchFamily="34" charset="-120"/>
                          <a:cs typeface="Arial" panose="020B0604020202020204" pitchFamily="34" charset="0"/>
                        </a:rPr>
                        <a:t>台北馬偕心臟內科</a:t>
                      </a:r>
                      <a:endParaRPr lang="en-US" altLang="zh-TW" sz="18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微軟正黑體" panose="020B0604030504040204" pitchFamily="34" charset="-120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45708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TW" altLang="en-US" sz="1600" b="1" dirty="0">
                        <a:solidFill>
                          <a:srgbClr val="080808"/>
                        </a:solidFill>
                      </a:endParaRPr>
                    </a:p>
                  </a:txBody>
                  <a:tcPr marL="121920" marR="121920" marT="60960" marB="6096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738386"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1800" b="1" dirty="0">
                          <a:solidFill>
                            <a:srgbClr val="080808"/>
                          </a:solidFill>
                          <a:latin typeface="Arial" panose="020B0604020202020204" pitchFamily="34" charset="0"/>
                          <a:ea typeface="微軟正黑體" panose="020B0604030504040204" pitchFamily="34" charset="-120"/>
                          <a:cs typeface="Arial" panose="020B0604020202020204" pitchFamily="34" charset="0"/>
                        </a:rPr>
                        <a:t>13:10 - 13:30</a:t>
                      </a:r>
                      <a:endParaRPr lang="zh-TW" altLang="en-US" sz="1800" b="1" dirty="0">
                        <a:solidFill>
                          <a:srgbClr val="080808"/>
                        </a:solidFill>
                        <a:latin typeface="Arial" panose="020B0604020202020204" pitchFamily="34" charset="0"/>
                        <a:ea typeface="微軟正黑體" panose="020B0604030504040204" pitchFamily="34" charset="-120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1800" b="1" dirty="0">
                          <a:solidFill>
                            <a:srgbClr val="080808"/>
                          </a:solidFill>
                          <a:latin typeface="Arial" panose="020B0604020202020204" pitchFamily="34" charset="0"/>
                          <a:ea typeface="微軟正黑體" panose="020B0604030504040204" pitchFamily="34" charset="-120"/>
                          <a:cs typeface="Arial" panose="020B0604020202020204" pitchFamily="34" charset="0"/>
                        </a:rPr>
                        <a:t>Q and A</a:t>
                      </a:r>
                    </a:p>
                  </a:txBody>
                  <a:tcPr marL="121920" marR="121920" marT="60960" marB="6096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TW" altLang="en-US" sz="18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微軟正黑體" panose="020B0604030504040204" pitchFamily="34" charset="-120"/>
                          <a:cs typeface="Arial" panose="020B0604020202020204" pitchFamily="34" charset="0"/>
                        </a:rPr>
                        <a:t>洪崇烈 醫師</a:t>
                      </a:r>
                      <a:endParaRPr lang="en-US" altLang="zh-TW" sz="18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微軟正黑體" panose="020B0604030504040204" pitchFamily="34" charset="-120"/>
                        <a:cs typeface="Arial" panose="020B0604020202020204" pitchFamily="34" charset="0"/>
                      </a:endParaRPr>
                    </a:p>
                    <a:p>
                      <a:pPr algn="ctr"/>
                      <a:r>
                        <a:rPr lang="zh-TW" altLang="en-US" sz="18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微軟正黑體" panose="020B0604030504040204" pitchFamily="34" charset="-120"/>
                          <a:cs typeface="Arial" panose="020B0604020202020204" pitchFamily="34" charset="0"/>
                        </a:rPr>
                        <a:t>台北馬偕心臟內科</a:t>
                      </a:r>
                      <a:endParaRPr lang="en-US" altLang="zh-TW" sz="18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微軟正黑體" panose="020B0604030504040204" pitchFamily="34" charset="-120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zh-TW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7" name="文字方塊 6"/>
          <p:cNvSpPr txBox="1"/>
          <p:nvPr/>
        </p:nvSpPr>
        <p:spPr>
          <a:xfrm>
            <a:off x="431754" y="374652"/>
            <a:ext cx="4570482" cy="107721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TW" sz="3200" b="1" dirty="0"/>
              <a:t>EMPOWER</a:t>
            </a:r>
            <a:r>
              <a:rPr lang="zh-TW" altLang="en-US" sz="3200" b="1" dirty="0"/>
              <a:t> </a:t>
            </a:r>
            <a:r>
              <a:rPr lang="en-US" altLang="zh-TW" sz="3200" b="1" dirty="0"/>
              <a:t>BY</a:t>
            </a:r>
            <a:r>
              <a:rPr lang="zh-TW" altLang="en-US" sz="3200" b="1" dirty="0"/>
              <a:t> </a:t>
            </a:r>
            <a:r>
              <a:rPr lang="en-US" altLang="zh-TW" sz="3200" b="1" dirty="0"/>
              <a:t>YOU </a:t>
            </a:r>
          </a:p>
          <a:p>
            <a:r>
              <a:rPr lang="zh-TW" altLang="en-US" sz="3200" b="1" dirty="0"/>
              <a:t>救心護腎方程式 </a:t>
            </a:r>
            <a:r>
              <a:rPr lang="en-US" altLang="zh-TW" sz="2400" b="1" dirty="0"/>
              <a:t>(</a:t>
            </a:r>
            <a:r>
              <a:rPr lang="zh-TW" altLang="en-US" sz="2400" b="1" dirty="0"/>
              <a:t>線上會議</a:t>
            </a:r>
            <a:r>
              <a:rPr lang="en-US" altLang="zh-TW" sz="2400" b="1" dirty="0"/>
              <a:t>)</a:t>
            </a:r>
            <a:endParaRPr lang="zh-TW" altLang="en-US" sz="3200" b="1" dirty="0"/>
          </a:p>
        </p:txBody>
      </p:sp>
      <p:sp>
        <p:nvSpPr>
          <p:cNvPr id="2" name="矩形 1"/>
          <p:cNvSpPr/>
          <p:nvPr/>
        </p:nvSpPr>
        <p:spPr>
          <a:xfrm>
            <a:off x="431754" y="1686910"/>
            <a:ext cx="2966068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TW" sz="2400" dirty="0"/>
              <a:t>Date: 2022/01/20</a:t>
            </a:r>
            <a:r>
              <a:rPr lang="zh-TW" altLang="en-US" sz="2400" dirty="0"/>
              <a:t> </a:t>
            </a:r>
            <a:r>
              <a:rPr lang="en-US" altLang="zh-TW" sz="2400" dirty="0"/>
              <a:t>(</a:t>
            </a:r>
            <a:r>
              <a:rPr lang="zh-TW" altLang="en-US" sz="2400" dirty="0"/>
              <a:t>四</a:t>
            </a:r>
            <a:r>
              <a:rPr lang="en-US" altLang="zh-TW" sz="2400" dirty="0"/>
              <a:t>)</a:t>
            </a:r>
            <a:endParaRPr lang="en-US" altLang="zh-TW" sz="2400" dirty="0">
              <a:highlight>
                <a:srgbClr val="FFFF00"/>
              </a:highlight>
            </a:endParaRPr>
          </a:p>
        </p:txBody>
      </p:sp>
      <p:pic>
        <p:nvPicPr>
          <p:cNvPr id="3" name="圖片 2">
            <a:extLst>
              <a:ext uri="{FF2B5EF4-FFF2-40B4-BE49-F238E27FC236}">
                <a16:creationId xmlns:a16="http://schemas.microsoft.com/office/drawing/2014/main" id="{2C59259A-D4AF-4B1E-A967-ADEB409B420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170962" y="6199624"/>
            <a:ext cx="914400" cy="581025"/>
          </a:xfrm>
          <a:prstGeom prst="rect">
            <a:avLst/>
          </a:prstGeom>
        </p:spPr>
      </p:pic>
      <p:pic>
        <p:nvPicPr>
          <p:cNvPr id="5" name="圖片 4">
            <a:extLst>
              <a:ext uri="{FF2B5EF4-FFF2-40B4-BE49-F238E27FC236}">
                <a16:creationId xmlns:a16="http://schemas.microsoft.com/office/drawing/2014/main" id="{60ABDE56-C50B-4799-83D2-3F35CD65747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9741" y="6209149"/>
            <a:ext cx="1400175" cy="571500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C9325D20-6F1A-4996-A630-0D2C75BC4F48}"/>
              </a:ext>
            </a:extLst>
          </p:cNvPr>
          <p:cNvSpPr txBox="1"/>
          <p:nvPr/>
        </p:nvSpPr>
        <p:spPr>
          <a:xfrm>
            <a:off x="1509916" y="6296260"/>
            <a:ext cx="10191984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TW" altLang="en-US" sz="2000" b="1" spc="30" dirty="0">
                <a:solidFill>
                  <a:srgbClr val="444444"/>
                </a:solidFill>
                <a:effectLst/>
                <a:latin typeface="Lato" panose="020F0502020204030203" pitchFamily="34" charset="0"/>
              </a:rPr>
              <a:t>會議註冊連結 </a:t>
            </a:r>
            <a:r>
              <a:rPr lang="en-US" sz="1400" u="sng" spc="30" dirty="0">
                <a:solidFill>
                  <a:srgbClr val="00C2FF"/>
                </a:solidFill>
                <a:effectLst/>
                <a:latin typeface="Lato" panose="020F0502020204030203" pitchFamily="34" charset="0"/>
                <a:ea typeface="PMingLiU" panose="02020500000000000000" pitchFamily="18" charset="-120"/>
                <a:cs typeface="Calibri" panose="020F0502020204030204" pitchFamily="34" charset="0"/>
                <a:hlinkClick r:id="rId4"/>
              </a:rPr>
              <a:t>https://attendee.gotowebinar.com/register/7041767664078733323?source=SOA-website-TSLA</a:t>
            </a:r>
            <a:endParaRPr lang="en-US" sz="1400" u="sng" spc="30" dirty="0">
              <a:solidFill>
                <a:srgbClr val="00C2FF"/>
              </a:solidFill>
              <a:effectLst/>
              <a:latin typeface="Lato" panose="020F0502020204030203" pitchFamily="34" charset="0"/>
              <a:ea typeface="PMingLiU" panose="02020500000000000000" pitchFamily="18" charset="-120"/>
              <a:cs typeface="Calibri" panose="020F0502020204030204" pitchFamily="34" charset="0"/>
            </a:endParaRPr>
          </a:p>
          <a:p>
            <a:endParaRPr lang="en-US" sz="1400" dirty="0">
              <a:effectLst/>
              <a:latin typeface="PMingLiU" panose="02020500000000000000" pitchFamily="18" charset="-120"/>
              <a:ea typeface="PMingLiU" panose="02020500000000000000" pitchFamily="18" charset="-120"/>
              <a:cs typeface="PMingLiU" panose="02020500000000000000" pitchFamily="18" charset="-120"/>
            </a:endParaRPr>
          </a:p>
          <a:p>
            <a:pPr marL="0" marR="0">
              <a:spcBef>
                <a:spcPts val="0"/>
              </a:spcBef>
            </a:pPr>
            <a:endParaRPr lang="en-US" sz="2000" b="1" dirty="0">
              <a:effectLst/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3951882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mI.4SCBLEOS6tfzp18HV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XROCh01okm65gbq39KH5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ZcJXeVc067e4nnYpbXw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FG_7zF33Ui2iVoqew.mN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mI.4SCBLEOS6tfzp18HV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JPRl4AmTK.cQ97V2UdTS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XROCh01okm65gbq39KH5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JPRl4AmTK.cQ97V2UdTS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JPRl4AmTK.cQ97V2UdTS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ZcJXeVc067e4nnYpbXw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FG_7zF33Ui2iVoqew.mN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mI.4SCBLEOS6tfzp18HV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XROCh01okm65gbq39KH5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ZcJXeVc067e4nnYpbXw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FG_7zF33Ui2iVoqew.mNQ"/>
</p:tagLst>
</file>

<file path=ppt/theme/theme1.xml><?xml version="1.0" encoding="utf-8"?>
<a:theme xmlns:a="http://schemas.openxmlformats.org/drawingml/2006/main" name="4_blank">
  <a:themeElements>
    <a:clrScheme name="Blank 1">
      <a:dk1>
        <a:srgbClr val="000000"/>
      </a:dk1>
      <a:lt1>
        <a:srgbClr val="FFFFFF"/>
      </a:lt1>
      <a:dk2>
        <a:srgbClr val="8EB4DA"/>
      </a:dk2>
      <a:lt2>
        <a:srgbClr val="EBEBEB"/>
      </a:lt2>
      <a:accent1>
        <a:srgbClr val="003366"/>
      </a:accent1>
      <a:accent2>
        <a:srgbClr val="0066CC"/>
      </a:accent2>
      <a:accent3>
        <a:srgbClr val="FFFFFF"/>
      </a:accent3>
      <a:accent4>
        <a:srgbClr val="000000"/>
      </a:accent4>
      <a:accent5>
        <a:srgbClr val="AAADB8"/>
      </a:accent5>
      <a:accent6>
        <a:srgbClr val="005CB9"/>
      </a:accent6>
      <a:hlink>
        <a:srgbClr val="FF9900"/>
      </a:hlink>
      <a:folHlink>
        <a:srgbClr val="669999"/>
      </a:folHlink>
    </a:clrScheme>
    <a:fontScheme name="Blank">
      <a:majorFont>
        <a:latin typeface="BISansCond"/>
        <a:ea typeface=""/>
        <a:cs typeface=""/>
      </a:majorFont>
      <a:minorFont>
        <a:latin typeface="BISansCond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B2B2B2"/>
        </a:solidFill>
        <a:ln w="9525" cap="flat" cmpd="sng" algn="ctr">
          <a:solidFill>
            <a:schemeClr val="bg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BISansCond" pitchFamily="2" charset="0"/>
          </a:defRPr>
        </a:defPPr>
      </a:lstStyle>
    </a:spDef>
    <a:lnDef>
      <a:spPr bwMode="auto">
        <a:solidFill>
          <a:srgbClr val="B2B2B2"/>
        </a:solidFill>
        <a:ln w="9525" cap="flat" cmpd="sng" algn="ctr">
          <a:solidFill>
            <a:schemeClr val="accent5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</a:objectDefaults>
  <a:extraClrSchemeLst>
    <a:extraClrScheme>
      <a:clrScheme name="Blank 1">
        <a:dk1>
          <a:srgbClr val="000000"/>
        </a:dk1>
        <a:lt1>
          <a:srgbClr val="FFFFFF"/>
        </a:lt1>
        <a:dk2>
          <a:srgbClr val="8EB4DA"/>
        </a:dk2>
        <a:lt2>
          <a:srgbClr val="EBEBEB"/>
        </a:lt2>
        <a:accent1>
          <a:srgbClr val="003366"/>
        </a:accent1>
        <a:accent2>
          <a:srgbClr val="0066CC"/>
        </a:accent2>
        <a:accent3>
          <a:srgbClr val="FFFFFF"/>
        </a:accent3>
        <a:accent4>
          <a:srgbClr val="000000"/>
        </a:accent4>
        <a:accent5>
          <a:srgbClr val="AAADB8"/>
        </a:accent5>
        <a:accent6>
          <a:srgbClr val="005CB9"/>
        </a:accent6>
        <a:hlink>
          <a:srgbClr val="FF9900"/>
        </a:hlink>
        <a:folHlink>
          <a:srgbClr val="66999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0.xml><?xml version="1.0" encoding="utf-8"?>
<a:theme xmlns:a="http://schemas.openxmlformats.org/drawingml/2006/main" name="1_SPAF MSL theme">
  <a:themeElements>
    <a:clrScheme name="SPAF Academy">
      <a:dk1>
        <a:srgbClr val="00498B"/>
      </a:dk1>
      <a:lt1>
        <a:srgbClr val="FFFFFF"/>
      </a:lt1>
      <a:dk2>
        <a:srgbClr val="00498B"/>
      </a:dk2>
      <a:lt2>
        <a:srgbClr val="FFFFFF"/>
      </a:lt2>
      <a:accent1>
        <a:srgbClr val="CD1543"/>
      </a:accent1>
      <a:accent2>
        <a:srgbClr val="00498B"/>
      </a:accent2>
      <a:accent3>
        <a:srgbClr val="0084CB"/>
      </a:accent3>
      <a:accent4>
        <a:srgbClr val="007370"/>
      </a:accent4>
      <a:accent5>
        <a:srgbClr val="EAEAEA"/>
      </a:accent5>
      <a:accent6>
        <a:srgbClr val="FFFF00"/>
      </a:accent6>
      <a:hlink>
        <a:srgbClr val="0084CB"/>
      </a:hlink>
      <a:folHlink>
        <a:srgbClr val="990F32"/>
      </a:folHlink>
    </a:clrScheme>
    <a:fontScheme name="Master SPAF Academy Template">
      <a:majorFont>
        <a:latin typeface="Tahoma"/>
        <a:ea typeface=""/>
        <a:cs typeface=""/>
      </a:majorFont>
      <a:minorFont>
        <a:latin typeface="Tahom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498B"/>
        </a:solidFill>
        <a:ln w="25400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14" tIns="45708" rIns="91414" bIns="45708" numCol="1" anchor="ctr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85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Tahoma" pitchFamily="34" charset="0"/>
            <a:ea typeface="ＭＳ Ｐゴシック" pitchFamily="34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498B"/>
        </a:solidFill>
        <a:ln w="25400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14" tIns="45708" rIns="91414" bIns="45708" numCol="1" anchor="ctr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85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Tahoma" pitchFamily="34" charset="0"/>
            <a:ea typeface="ＭＳ Ｐゴシック" pitchFamily="34" charset="-128"/>
          </a:defRPr>
        </a:defPPr>
      </a:lstStyle>
    </a:lnDef>
    <a:txDef>
      <a:spPr bwMode="auto">
        <a:noFill/>
        <a:ln w="9525" algn="ctr">
          <a:noFill/>
          <a:miter lim="800000"/>
          <a:headEnd/>
          <a:tailEnd/>
        </a:ln>
      </a:spPr>
      <a:bodyPr lIns="0"/>
      <a:lstStyle>
        <a:defPPr>
          <a:defRPr sz="1100" dirty="0">
            <a:solidFill>
              <a:schemeClr val="tx1"/>
            </a:solidFill>
          </a:defRPr>
        </a:defPPr>
      </a:lstStyle>
    </a:txDef>
  </a:objectDefaults>
  <a:extraClrSchemeLst>
    <a:extraClrScheme>
      <a:clrScheme name="SPAF_Academy_templat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PAF_Academy_templat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PAF_Academy_templat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PAF_Academy_templat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PAF_Academy_templat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PAF_Academy_templat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PAF_Academy_templat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PAF_Academy_templat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PAF_Academy_templat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PAF_Academy_templat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PAF_Academy_templat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PAF_Academy_templat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PAF_Academy_template 13">
        <a:dk1>
          <a:srgbClr val="005C84"/>
        </a:dk1>
        <a:lt1>
          <a:srgbClr val="FFFFFF"/>
        </a:lt1>
        <a:dk2>
          <a:srgbClr val="005C84"/>
        </a:dk2>
        <a:lt2>
          <a:srgbClr val="808080"/>
        </a:lt2>
        <a:accent1>
          <a:srgbClr val="A21636"/>
        </a:accent1>
        <a:accent2>
          <a:srgbClr val="0046AD"/>
        </a:accent2>
        <a:accent3>
          <a:srgbClr val="FFFFFF"/>
        </a:accent3>
        <a:accent4>
          <a:srgbClr val="004D70"/>
        </a:accent4>
        <a:accent5>
          <a:srgbClr val="CEABAE"/>
        </a:accent5>
        <a:accent6>
          <a:srgbClr val="003F9C"/>
        </a:accent6>
        <a:hlink>
          <a:srgbClr val="0084CB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PAF_Academy_template 14">
        <a:dk1>
          <a:srgbClr val="0046AD"/>
        </a:dk1>
        <a:lt1>
          <a:srgbClr val="FFFFFF"/>
        </a:lt1>
        <a:dk2>
          <a:srgbClr val="0046AD"/>
        </a:dk2>
        <a:lt2>
          <a:srgbClr val="808080"/>
        </a:lt2>
        <a:accent1>
          <a:srgbClr val="A21636"/>
        </a:accent1>
        <a:accent2>
          <a:srgbClr val="005C84"/>
        </a:accent2>
        <a:accent3>
          <a:srgbClr val="FFFFFF"/>
        </a:accent3>
        <a:accent4>
          <a:srgbClr val="003A93"/>
        </a:accent4>
        <a:accent5>
          <a:srgbClr val="CEABAE"/>
        </a:accent5>
        <a:accent6>
          <a:srgbClr val="005377"/>
        </a:accent6>
        <a:hlink>
          <a:srgbClr val="0084CB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PAF_Academy_template 15">
        <a:dk1>
          <a:srgbClr val="00498B"/>
        </a:dk1>
        <a:lt1>
          <a:srgbClr val="FFFFFF"/>
        </a:lt1>
        <a:dk2>
          <a:srgbClr val="00498B"/>
        </a:dk2>
        <a:lt2>
          <a:srgbClr val="005C84"/>
        </a:lt2>
        <a:accent1>
          <a:srgbClr val="A21636"/>
        </a:accent1>
        <a:accent2>
          <a:srgbClr val="00498B"/>
        </a:accent2>
        <a:accent3>
          <a:srgbClr val="FFFFFF"/>
        </a:accent3>
        <a:accent4>
          <a:srgbClr val="003D76"/>
        </a:accent4>
        <a:accent5>
          <a:srgbClr val="CEABAE"/>
        </a:accent5>
        <a:accent6>
          <a:srgbClr val="00417D"/>
        </a:accent6>
        <a:hlink>
          <a:srgbClr val="0084CB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PAF_Academy_template 16">
        <a:dk1>
          <a:srgbClr val="00498B"/>
        </a:dk1>
        <a:lt1>
          <a:srgbClr val="FFFFFF"/>
        </a:lt1>
        <a:dk2>
          <a:srgbClr val="00498B"/>
        </a:dk2>
        <a:lt2>
          <a:srgbClr val="005C84"/>
        </a:lt2>
        <a:accent1>
          <a:srgbClr val="CD1543"/>
        </a:accent1>
        <a:accent2>
          <a:srgbClr val="00498B"/>
        </a:accent2>
        <a:accent3>
          <a:srgbClr val="FFFFFF"/>
        </a:accent3>
        <a:accent4>
          <a:srgbClr val="003D76"/>
        </a:accent4>
        <a:accent5>
          <a:srgbClr val="E3AAB0"/>
        </a:accent5>
        <a:accent6>
          <a:srgbClr val="00417D"/>
        </a:accent6>
        <a:hlink>
          <a:srgbClr val="0084CB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1.xml><?xml version="1.0" encoding="utf-8"?>
<a:theme xmlns:a="http://schemas.openxmlformats.org/drawingml/2006/main" name="1_2017 HPBU Regions world 3_4">
  <a:themeElements>
    <a:clrScheme name="Boehringer Ingelheim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123563"/>
      </a:accent1>
      <a:accent2>
        <a:srgbClr val="336597"/>
      </a:accent2>
      <a:accent3>
        <a:srgbClr val="6697BF"/>
      </a:accent3>
      <a:accent4>
        <a:srgbClr val="C73635"/>
      </a:accent4>
      <a:accent5>
        <a:srgbClr val="649A9C"/>
      </a:accent5>
      <a:accent6>
        <a:srgbClr val="9E9C23"/>
      </a:accent6>
      <a:hlink>
        <a:srgbClr val="3763A0"/>
      </a:hlink>
      <a:folHlink>
        <a:srgbClr val="EA9A35"/>
      </a:folHlink>
    </a:clrScheme>
    <a:fontScheme name="BI Designfont">
      <a:majorFont>
        <a:latin typeface="BISansCond"/>
        <a:ea typeface=""/>
        <a:cs typeface=""/>
      </a:majorFont>
      <a:minorFont>
        <a:latin typeface="BISans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12700">
          <a:solidFill>
            <a:srgbClr val="003366"/>
          </a:solidFill>
        </a:ln>
      </a:spPr>
      <a:bodyPr lIns="72000" tIns="72000" rIns="72000" bIns="72000" rtlCol="0" anchor="ctr"/>
      <a:lstStyle>
        <a:defPPr algn="ctr">
          <a:defRPr sz="14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rgbClr val="00336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defRPr sz="1400" dirty="0" smtClean="0"/>
        </a:defPPr>
      </a:lstStyle>
    </a:txDef>
  </a:objectDefaults>
  <a:extraClrSchemeLst/>
  <a:custClrLst>
    <a:custClr name="Blue 0/51/102">
      <a:srgbClr val="003366"/>
    </a:custClr>
    <a:custClr name="Blue 51/102/153">
      <a:srgbClr val="336699"/>
    </a:custClr>
    <a:custClr name="Blue 102/153/204">
      <a:srgbClr val="6699CC"/>
    </a:custClr>
    <a:custClr name="Blue 153/204/255">
      <a:srgbClr val="99CCFF"/>
    </a:custClr>
    <a:custClr name="Blue 0/102/204">
      <a:srgbClr val="0066CC"/>
    </a:custClr>
    <a:custClr name="Red 204/51/51">
      <a:srgbClr val="CC3333"/>
    </a:custClr>
    <a:custClr name="Green 0/102/102">
      <a:srgbClr val="006666"/>
    </a:custClr>
    <a:custClr name="Green 102/153/153">
      <a:srgbClr val="669999"/>
    </a:custClr>
    <a:custClr name="Green 0/153/51">
      <a:srgbClr val="009933"/>
    </a:custClr>
    <a:custClr name="Green 153/153/0">
      <a:srgbClr val="999900"/>
    </a:custClr>
    <a:custClr name="Green 204/204/0">
      <a:srgbClr val="CCCC00"/>
    </a:custClr>
    <a:custClr name="Yellow 255/153/0">
      <a:srgbClr val="FF9900"/>
    </a:custClr>
  </a:custClrLst>
</a:theme>
</file>

<file path=ppt/theme/theme12.xml><?xml version="1.0" encoding="utf-8"?>
<a:theme xmlns:a="http://schemas.openxmlformats.org/drawingml/2006/main" name="1_BI_Corporate_16_9">
  <a:themeElements>
    <a:clrScheme name="Boehringer Ingelheim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123563"/>
      </a:accent1>
      <a:accent2>
        <a:srgbClr val="336597"/>
      </a:accent2>
      <a:accent3>
        <a:srgbClr val="6697BF"/>
      </a:accent3>
      <a:accent4>
        <a:srgbClr val="C73635"/>
      </a:accent4>
      <a:accent5>
        <a:srgbClr val="649A9C"/>
      </a:accent5>
      <a:accent6>
        <a:srgbClr val="9E9C23"/>
      </a:accent6>
      <a:hlink>
        <a:srgbClr val="3763A0"/>
      </a:hlink>
      <a:folHlink>
        <a:srgbClr val="EA9A35"/>
      </a:folHlink>
    </a:clrScheme>
    <a:fontScheme name="Boehringer Ingelheim Font Set">
      <a:majorFont>
        <a:latin typeface="BISansOptiCond"/>
        <a:ea typeface=""/>
        <a:cs typeface=""/>
      </a:majorFont>
      <a:minorFont>
        <a:latin typeface="BISansOpti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12700">
          <a:solidFill>
            <a:srgbClr val="003366"/>
          </a:solidFill>
        </a:ln>
      </a:spPr>
      <a:bodyPr lIns="72000" tIns="72000" rIns="72000" bIns="72000" rtlCol="0" anchor="ctr"/>
      <a:lstStyle>
        <a:defPPr algn="ctr">
          <a:defRPr sz="14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rgbClr val="00336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defRPr sz="1400" dirty="0" smtClean="0"/>
        </a:defPPr>
      </a:lstStyle>
    </a:txDef>
  </a:objectDefaults>
  <a:extraClrSchemeLst/>
  <a:custClrLst>
    <a:custClr name="Blue 0/51/102">
      <a:srgbClr val="003366"/>
    </a:custClr>
    <a:custClr name="Blue 51/102/153">
      <a:srgbClr val="336699"/>
    </a:custClr>
    <a:custClr name="Blue 102/153/204">
      <a:srgbClr val="6699CC"/>
    </a:custClr>
    <a:custClr name="Blue 153/204/255">
      <a:srgbClr val="99CCFF"/>
    </a:custClr>
    <a:custClr name="Blue 0/102/204">
      <a:srgbClr val="0066CC"/>
    </a:custClr>
    <a:custClr name="Red 204/51/51">
      <a:srgbClr val="CC3333"/>
    </a:custClr>
    <a:custClr name="Green 0/102/102">
      <a:srgbClr val="006666"/>
    </a:custClr>
    <a:custClr name="Green 102/153/153">
      <a:srgbClr val="669999"/>
    </a:custClr>
    <a:custClr name="Green 0/153/51">
      <a:srgbClr val="009933"/>
    </a:custClr>
    <a:custClr name="Green 153/153/0">
      <a:srgbClr val="999900"/>
    </a:custClr>
    <a:custClr name="Green 204/204/0">
      <a:srgbClr val="CCCC00"/>
    </a:custClr>
    <a:custClr name="Yellow 255/153/0">
      <a:srgbClr val="FF9900"/>
    </a:custClr>
  </a:custClrLst>
  <a:extLst>
    <a:ext uri="{05A4C25C-085E-4340-85A3-A5531E510DB2}">
      <thm15:themeFamily xmlns:thm15="http://schemas.microsoft.com/office/thememl/2012/main" name="Präsentation15" id="{2EE0B740-C1E2-5F47-9DC9-1AB0F3EB6989}" vid="{318FD161-97DC-7F45-B134-E4A575C46A90}"/>
    </a:ext>
  </a:extLst>
</a:theme>
</file>

<file path=ppt/theme/theme13.xml><?xml version="1.0" encoding="utf-8"?>
<a:theme xmlns:a="http://schemas.openxmlformats.org/drawingml/2006/main" name="3_2017 HPBU Regions world 3_4">
  <a:themeElements>
    <a:clrScheme name="Boehringer Ingelheim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123563"/>
      </a:accent1>
      <a:accent2>
        <a:srgbClr val="336597"/>
      </a:accent2>
      <a:accent3>
        <a:srgbClr val="6697BF"/>
      </a:accent3>
      <a:accent4>
        <a:srgbClr val="C73635"/>
      </a:accent4>
      <a:accent5>
        <a:srgbClr val="649A9C"/>
      </a:accent5>
      <a:accent6>
        <a:srgbClr val="9E9C23"/>
      </a:accent6>
      <a:hlink>
        <a:srgbClr val="3763A0"/>
      </a:hlink>
      <a:folHlink>
        <a:srgbClr val="EA9A35"/>
      </a:folHlink>
    </a:clrScheme>
    <a:fontScheme name="BI Designfont">
      <a:majorFont>
        <a:latin typeface="BISansCond"/>
        <a:ea typeface=""/>
        <a:cs typeface=""/>
      </a:majorFont>
      <a:minorFont>
        <a:latin typeface="BISans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12700">
          <a:solidFill>
            <a:srgbClr val="003366"/>
          </a:solidFill>
        </a:ln>
      </a:spPr>
      <a:bodyPr lIns="72000" tIns="72000" rIns="72000" bIns="72000" rtlCol="0" anchor="ctr"/>
      <a:lstStyle>
        <a:defPPr algn="ctr">
          <a:defRPr sz="14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rgbClr val="00336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defRPr sz="1400" dirty="0" smtClean="0"/>
        </a:defPPr>
      </a:lstStyle>
    </a:txDef>
  </a:objectDefaults>
  <a:extraClrSchemeLst/>
  <a:custClrLst>
    <a:custClr name="Blue 0/51/102">
      <a:srgbClr val="003366"/>
    </a:custClr>
    <a:custClr name="Blue 51/102/153">
      <a:srgbClr val="336699"/>
    </a:custClr>
    <a:custClr name="Blue 102/153/204">
      <a:srgbClr val="6699CC"/>
    </a:custClr>
    <a:custClr name="Blue 153/204/255">
      <a:srgbClr val="99CCFF"/>
    </a:custClr>
    <a:custClr name="Blue 0/102/204">
      <a:srgbClr val="0066CC"/>
    </a:custClr>
    <a:custClr name="Red 204/51/51">
      <a:srgbClr val="CC3333"/>
    </a:custClr>
    <a:custClr name="Green 0/102/102">
      <a:srgbClr val="006666"/>
    </a:custClr>
    <a:custClr name="Green 102/153/153">
      <a:srgbClr val="669999"/>
    </a:custClr>
    <a:custClr name="Green 0/153/51">
      <a:srgbClr val="009933"/>
    </a:custClr>
    <a:custClr name="Green 153/153/0">
      <a:srgbClr val="999900"/>
    </a:custClr>
    <a:custClr name="Green 204/204/0">
      <a:srgbClr val="CCCC00"/>
    </a:custClr>
    <a:custClr name="Yellow 255/153/0">
      <a:srgbClr val="FF9900"/>
    </a:custClr>
  </a:custClrLst>
</a:theme>
</file>

<file path=ppt/theme/theme14.xml><?xml version="1.0" encoding="utf-8"?>
<a:theme xmlns:a="http://schemas.openxmlformats.org/drawingml/2006/main" name="4_2017 HPBU Regions world 3_4">
  <a:themeElements>
    <a:clrScheme name="Boehringer Ingelheim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123563"/>
      </a:accent1>
      <a:accent2>
        <a:srgbClr val="336597"/>
      </a:accent2>
      <a:accent3>
        <a:srgbClr val="6697BF"/>
      </a:accent3>
      <a:accent4>
        <a:srgbClr val="C73635"/>
      </a:accent4>
      <a:accent5>
        <a:srgbClr val="649A9C"/>
      </a:accent5>
      <a:accent6>
        <a:srgbClr val="9E9C23"/>
      </a:accent6>
      <a:hlink>
        <a:srgbClr val="3763A0"/>
      </a:hlink>
      <a:folHlink>
        <a:srgbClr val="EA9A35"/>
      </a:folHlink>
    </a:clrScheme>
    <a:fontScheme name="BI Designfont">
      <a:majorFont>
        <a:latin typeface="BISansCond"/>
        <a:ea typeface=""/>
        <a:cs typeface=""/>
      </a:majorFont>
      <a:minorFont>
        <a:latin typeface="BISans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12700">
          <a:solidFill>
            <a:srgbClr val="003366"/>
          </a:solidFill>
        </a:ln>
      </a:spPr>
      <a:bodyPr lIns="72000" tIns="72000" rIns="72000" bIns="72000" rtlCol="0" anchor="ctr"/>
      <a:lstStyle>
        <a:defPPr algn="ctr">
          <a:defRPr sz="14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rgbClr val="00336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defRPr sz="1400" dirty="0" smtClean="0"/>
        </a:defPPr>
      </a:lstStyle>
    </a:txDef>
  </a:objectDefaults>
  <a:extraClrSchemeLst/>
  <a:custClrLst>
    <a:custClr name="Blue 0/51/102">
      <a:srgbClr val="003366"/>
    </a:custClr>
    <a:custClr name="Blue 51/102/153">
      <a:srgbClr val="336699"/>
    </a:custClr>
    <a:custClr name="Blue 102/153/204">
      <a:srgbClr val="6699CC"/>
    </a:custClr>
    <a:custClr name="Blue 153/204/255">
      <a:srgbClr val="99CCFF"/>
    </a:custClr>
    <a:custClr name="Blue 0/102/204">
      <a:srgbClr val="0066CC"/>
    </a:custClr>
    <a:custClr name="Red 204/51/51">
      <a:srgbClr val="CC3333"/>
    </a:custClr>
    <a:custClr name="Green 0/102/102">
      <a:srgbClr val="006666"/>
    </a:custClr>
    <a:custClr name="Green 102/153/153">
      <a:srgbClr val="669999"/>
    </a:custClr>
    <a:custClr name="Green 0/153/51">
      <a:srgbClr val="009933"/>
    </a:custClr>
    <a:custClr name="Green 153/153/0">
      <a:srgbClr val="999900"/>
    </a:custClr>
    <a:custClr name="Green 204/204/0">
      <a:srgbClr val="CCCC00"/>
    </a:custClr>
    <a:custClr name="Yellow 255/153/0">
      <a:srgbClr val="FF9900"/>
    </a:custClr>
  </a:custClrLst>
</a:theme>
</file>

<file path=ppt/theme/theme1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34_blank">
  <a:themeElements>
    <a:clrScheme name="Blank 1">
      <a:dk1>
        <a:srgbClr val="000000"/>
      </a:dk1>
      <a:lt1>
        <a:srgbClr val="FFFFFF"/>
      </a:lt1>
      <a:dk2>
        <a:srgbClr val="8EB4DA"/>
      </a:dk2>
      <a:lt2>
        <a:srgbClr val="EBEBEB"/>
      </a:lt2>
      <a:accent1>
        <a:srgbClr val="003366"/>
      </a:accent1>
      <a:accent2>
        <a:srgbClr val="0066CC"/>
      </a:accent2>
      <a:accent3>
        <a:srgbClr val="FFFFFF"/>
      </a:accent3>
      <a:accent4>
        <a:srgbClr val="000000"/>
      </a:accent4>
      <a:accent5>
        <a:srgbClr val="AAADB8"/>
      </a:accent5>
      <a:accent6>
        <a:srgbClr val="005CB9"/>
      </a:accent6>
      <a:hlink>
        <a:srgbClr val="FF9900"/>
      </a:hlink>
      <a:folHlink>
        <a:srgbClr val="669999"/>
      </a:folHlink>
    </a:clrScheme>
    <a:fontScheme name="Blank">
      <a:majorFont>
        <a:latin typeface="BISansCond"/>
        <a:ea typeface=""/>
        <a:cs typeface=""/>
      </a:majorFont>
      <a:minorFont>
        <a:latin typeface="BISansCond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B2B2B2"/>
        </a:solidFill>
        <a:ln w="9525" cap="flat" cmpd="sng" algn="ctr">
          <a:solidFill>
            <a:schemeClr val="bg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BISansCond" pitchFamily="2" charset="0"/>
          </a:defRPr>
        </a:defPPr>
      </a:lstStyle>
    </a:spDef>
    <a:lnDef>
      <a:spPr bwMode="auto">
        <a:solidFill>
          <a:srgbClr val="B2B2B2"/>
        </a:solidFill>
        <a:ln w="9525" cap="flat" cmpd="sng" algn="ctr">
          <a:solidFill>
            <a:schemeClr val="accent5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</a:objectDefaults>
  <a:extraClrSchemeLst>
    <a:extraClrScheme>
      <a:clrScheme name="Blank 1">
        <a:dk1>
          <a:srgbClr val="000000"/>
        </a:dk1>
        <a:lt1>
          <a:srgbClr val="FFFFFF"/>
        </a:lt1>
        <a:dk2>
          <a:srgbClr val="8EB4DA"/>
        </a:dk2>
        <a:lt2>
          <a:srgbClr val="EBEBEB"/>
        </a:lt2>
        <a:accent1>
          <a:srgbClr val="003366"/>
        </a:accent1>
        <a:accent2>
          <a:srgbClr val="0066CC"/>
        </a:accent2>
        <a:accent3>
          <a:srgbClr val="FFFFFF"/>
        </a:accent3>
        <a:accent4>
          <a:srgbClr val="000000"/>
        </a:accent4>
        <a:accent5>
          <a:srgbClr val="AAADB8"/>
        </a:accent5>
        <a:accent6>
          <a:srgbClr val="005CB9"/>
        </a:accent6>
        <a:hlink>
          <a:srgbClr val="FF9900"/>
        </a:hlink>
        <a:folHlink>
          <a:srgbClr val="66999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14_blank">
  <a:themeElements>
    <a:clrScheme name="Blank 1">
      <a:dk1>
        <a:srgbClr val="000000"/>
      </a:dk1>
      <a:lt1>
        <a:srgbClr val="FFFFFF"/>
      </a:lt1>
      <a:dk2>
        <a:srgbClr val="8EB4DA"/>
      </a:dk2>
      <a:lt2>
        <a:srgbClr val="EBEBEB"/>
      </a:lt2>
      <a:accent1>
        <a:srgbClr val="003366"/>
      </a:accent1>
      <a:accent2>
        <a:srgbClr val="0066CC"/>
      </a:accent2>
      <a:accent3>
        <a:srgbClr val="FFFFFF"/>
      </a:accent3>
      <a:accent4>
        <a:srgbClr val="000000"/>
      </a:accent4>
      <a:accent5>
        <a:srgbClr val="AAADB8"/>
      </a:accent5>
      <a:accent6>
        <a:srgbClr val="005CB9"/>
      </a:accent6>
      <a:hlink>
        <a:srgbClr val="FF9900"/>
      </a:hlink>
      <a:folHlink>
        <a:srgbClr val="669999"/>
      </a:folHlink>
    </a:clrScheme>
    <a:fontScheme name="Blank">
      <a:majorFont>
        <a:latin typeface="BISansCond"/>
        <a:ea typeface=""/>
        <a:cs typeface=""/>
      </a:majorFont>
      <a:minorFont>
        <a:latin typeface="BISansCond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B2B2B2"/>
        </a:solidFill>
        <a:ln w="9525" cap="flat" cmpd="sng" algn="ctr">
          <a:solidFill>
            <a:schemeClr val="bg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BISansCond" pitchFamily="2" charset="0"/>
          </a:defRPr>
        </a:defPPr>
      </a:lstStyle>
    </a:spDef>
    <a:lnDef>
      <a:spPr bwMode="auto">
        <a:solidFill>
          <a:srgbClr val="B2B2B2"/>
        </a:solidFill>
        <a:ln w="9525" cap="flat" cmpd="sng" algn="ctr">
          <a:solidFill>
            <a:schemeClr val="accent5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</a:objectDefaults>
  <a:extraClrSchemeLst>
    <a:extraClrScheme>
      <a:clrScheme name="Blank 1">
        <a:dk1>
          <a:srgbClr val="000000"/>
        </a:dk1>
        <a:lt1>
          <a:srgbClr val="FFFFFF"/>
        </a:lt1>
        <a:dk2>
          <a:srgbClr val="8EB4DA"/>
        </a:dk2>
        <a:lt2>
          <a:srgbClr val="EBEBEB"/>
        </a:lt2>
        <a:accent1>
          <a:srgbClr val="003366"/>
        </a:accent1>
        <a:accent2>
          <a:srgbClr val="0066CC"/>
        </a:accent2>
        <a:accent3>
          <a:srgbClr val="FFFFFF"/>
        </a:accent3>
        <a:accent4>
          <a:srgbClr val="000000"/>
        </a:accent4>
        <a:accent5>
          <a:srgbClr val="AAADB8"/>
        </a:accent5>
        <a:accent6>
          <a:srgbClr val="005CB9"/>
        </a:accent6>
        <a:hlink>
          <a:srgbClr val="FF9900"/>
        </a:hlink>
        <a:folHlink>
          <a:srgbClr val="66999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1_blank">
  <a:themeElements>
    <a:clrScheme name="Blank 1">
      <a:dk1>
        <a:srgbClr val="000000"/>
      </a:dk1>
      <a:lt1>
        <a:srgbClr val="FFFFFF"/>
      </a:lt1>
      <a:dk2>
        <a:srgbClr val="8EB4DA"/>
      </a:dk2>
      <a:lt2>
        <a:srgbClr val="EBEBEB"/>
      </a:lt2>
      <a:accent1>
        <a:srgbClr val="003366"/>
      </a:accent1>
      <a:accent2>
        <a:srgbClr val="0066CC"/>
      </a:accent2>
      <a:accent3>
        <a:srgbClr val="FFFFFF"/>
      </a:accent3>
      <a:accent4>
        <a:srgbClr val="000000"/>
      </a:accent4>
      <a:accent5>
        <a:srgbClr val="AAADB8"/>
      </a:accent5>
      <a:accent6>
        <a:srgbClr val="005CB9"/>
      </a:accent6>
      <a:hlink>
        <a:srgbClr val="FF9900"/>
      </a:hlink>
      <a:folHlink>
        <a:srgbClr val="669999"/>
      </a:folHlink>
    </a:clrScheme>
    <a:fontScheme name="Blank">
      <a:majorFont>
        <a:latin typeface="BISansCond"/>
        <a:ea typeface=""/>
        <a:cs typeface=""/>
      </a:majorFont>
      <a:minorFont>
        <a:latin typeface="BISansCond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B2B2B2"/>
        </a:solidFill>
        <a:ln w="9525" cap="flat" cmpd="sng" algn="ctr">
          <a:solidFill>
            <a:schemeClr val="bg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BISansCond" pitchFamily="2" charset="0"/>
          </a:defRPr>
        </a:defPPr>
      </a:lstStyle>
    </a:spDef>
    <a:lnDef>
      <a:spPr bwMode="auto">
        <a:solidFill>
          <a:srgbClr val="B2B2B2"/>
        </a:solidFill>
        <a:ln w="9525" cap="flat" cmpd="sng" algn="ctr">
          <a:solidFill>
            <a:schemeClr val="accent5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</a:objectDefaults>
  <a:extraClrSchemeLst>
    <a:extraClrScheme>
      <a:clrScheme name="Blank 1">
        <a:dk1>
          <a:srgbClr val="000000"/>
        </a:dk1>
        <a:lt1>
          <a:srgbClr val="FFFFFF"/>
        </a:lt1>
        <a:dk2>
          <a:srgbClr val="8EB4DA"/>
        </a:dk2>
        <a:lt2>
          <a:srgbClr val="EBEBEB"/>
        </a:lt2>
        <a:accent1>
          <a:srgbClr val="003366"/>
        </a:accent1>
        <a:accent2>
          <a:srgbClr val="0066CC"/>
        </a:accent2>
        <a:accent3>
          <a:srgbClr val="FFFFFF"/>
        </a:accent3>
        <a:accent4>
          <a:srgbClr val="000000"/>
        </a:accent4>
        <a:accent5>
          <a:srgbClr val="AAADB8"/>
        </a:accent5>
        <a:accent6>
          <a:srgbClr val="005CB9"/>
        </a:accent6>
        <a:hlink>
          <a:srgbClr val="FF9900"/>
        </a:hlink>
        <a:folHlink>
          <a:srgbClr val="66999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170215_BI-PPT_Template_4-3_new">
  <a:themeElements>
    <a:clrScheme name="BI Theme Colors Top">
      <a:dk1>
        <a:sysClr val="windowText" lastClr="000000"/>
      </a:dk1>
      <a:lt1>
        <a:sysClr val="window" lastClr="FFFFFF"/>
      </a:lt1>
      <a:dk2>
        <a:srgbClr val="336699"/>
      </a:dk2>
      <a:lt2>
        <a:srgbClr val="FFFFFF"/>
      </a:lt2>
      <a:accent1>
        <a:srgbClr val="003366"/>
      </a:accent1>
      <a:accent2>
        <a:srgbClr val="336699"/>
      </a:accent2>
      <a:accent3>
        <a:srgbClr val="6699CC"/>
      </a:accent3>
      <a:accent4>
        <a:srgbClr val="CC3333"/>
      </a:accent4>
      <a:accent5>
        <a:srgbClr val="669999"/>
      </a:accent5>
      <a:accent6>
        <a:srgbClr val="999900"/>
      </a:accent6>
      <a:hlink>
        <a:srgbClr val="0066CC"/>
      </a:hlink>
      <a:folHlink>
        <a:srgbClr val="FF9900"/>
      </a:folHlink>
    </a:clrScheme>
    <a:fontScheme name="BI Designfont">
      <a:majorFont>
        <a:latin typeface="BISansCond"/>
        <a:ea typeface=""/>
        <a:cs typeface=""/>
      </a:majorFont>
      <a:minorFont>
        <a:latin typeface="BISans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12700">
          <a:solidFill>
            <a:srgbClr val="003366"/>
          </a:solidFill>
        </a:ln>
      </a:spPr>
      <a:bodyPr lIns="72000" tIns="72000" rIns="72000" bIns="72000" rtlCol="0" anchor="ctr"/>
      <a:lstStyle>
        <a:defPPr algn="ctr">
          <a:defRPr sz="14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rgbClr val="00336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defRPr sz="1400" dirty="0" smtClean="0"/>
        </a:defPPr>
      </a:lstStyle>
    </a:txDef>
  </a:objectDefaults>
  <a:extraClrSchemeLst/>
  <a:custClrLst>
    <a:custClr name="Blue 0/51/102">
      <a:srgbClr val="003366"/>
    </a:custClr>
    <a:custClr name="Blue 51/102/153">
      <a:srgbClr val="336699"/>
    </a:custClr>
    <a:custClr name="Blue 102/153/204">
      <a:srgbClr val="6699CC"/>
    </a:custClr>
    <a:custClr name="Blue 153/204/255">
      <a:srgbClr val="99CCFF"/>
    </a:custClr>
    <a:custClr name="Blue 0/102/204">
      <a:srgbClr val="0066CC"/>
    </a:custClr>
    <a:custClr name="Red 204/51/51">
      <a:srgbClr val="CC3333"/>
    </a:custClr>
    <a:custClr name="Green 0/102/102">
      <a:srgbClr val="006666"/>
    </a:custClr>
    <a:custClr name="Green 102/153/153">
      <a:srgbClr val="669999"/>
    </a:custClr>
    <a:custClr name="Green 0/153/51">
      <a:srgbClr val="009933"/>
    </a:custClr>
    <a:custClr name="Green 153/153/0">
      <a:srgbClr val="999900"/>
    </a:custClr>
    <a:custClr name="Green 204/204/0">
      <a:srgbClr val="CCCC00"/>
    </a:custClr>
    <a:custClr name="Yellow 255/153/0">
      <a:srgbClr val="FF9900"/>
    </a:custClr>
  </a:custClrLst>
</a:theme>
</file>

<file path=ppt/theme/theme6.xml><?xml version="1.0" encoding="utf-8"?>
<a:theme xmlns:a="http://schemas.openxmlformats.org/drawingml/2006/main" name="2_170215_BI-PPT_Template_4-3_new">
  <a:themeElements>
    <a:clrScheme name="BI Theme Colors Top">
      <a:dk1>
        <a:sysClr val="windowText" lastClr="000000"/>
      </a:dk1>
      <a:lt1>
        <a:sysClr val="window" lastClr="FFFFFF"/>
      </a:lt1>
      <a:dk2>
        <a:srgbClr val="336699"/>
      </a:dk2>
      <a:lt2>
        <a:srgbClr val="FFFFFF"/>
      </a:lt2>
      <a:accent1>
        <a:srgbClr val="003366"/>
      </a:accent1>
      <a:accent2>
        <a:srgbClr val="336699"/>
      </a:accent2>
      <a:accent3>
        <a:srgbClr val="6699CC"/>
      </a:accent3>
      <a:accent4>
        <a:srgbClr val="CC3333"/>
      </a:accent4>
      <a:accent5>
        <a:srgbClr val="669999"/>
      </a:accent5>
      <a:accent6>
        <a:srgbClr val="999900"/>
      </a:accent6>
      <a:hlink>
        <a:srgbClr val="0066CC"/>
      </a:hlink>
      <a:folHlink>
        <a:srgbClr val="FF9900"/>
      </a:folHlink>
    </a:clrScheme>
    <a:fontScheme name="BI Designfont">
      <a:majorFont>
        <a:latin typeface="BISansCond"/>
        <a:ea typeface=""/>
        <a:cs typeface=""/>
      </a:majorFont>
      <a:minorFont>
        <a:latin typeface="BISans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12700">
          <a:solidFill>
            <a:srgbClr val="003366"/>
          </a:solidFill>
        </a:ln>
      </a:spPr>
      <a:bodyPr lIns="72000" tIns="72000" rIns="72000" bIns="72000" rtlCol="0" anchor="ctr"/>
      <a:lstStyle>
        <a:defPPr algn="ctr">
          <a:defRPr sz="14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rgbClr val="00336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defRPr sz="1400" dirty="0" smtClean="0"/>
        </a:defPPr>
      </a:lstStyle>
    </a:txDef>
  </a:objectDefaults>
  <a:extraClrSchemeLst/>
  <a:custClrLst>
    <a:custClr name="Blue 0/51/102">
      <a:srgbClr val="003366"/>
    </a:custClr>
    <a:custClr name="Blue 51/102/153">
      <a:srgbClr val="336699"/>
    </a:custClr>
    <a:custClr name="Blue 102/153/204">
      <a:srgbClr val="6699CC"/>
    </a:custClr>
    <a:custClr name="Blue 153/204/255">
      <a:srgbClr val="99CCFF"/>
    </a:custClr>
    <a:custClr name="Blue 0/102/204">
      <a:srgbClr val="0066CC"/>
    </a:custClr>
    <a:custClr name="Red 204/51/51">
      <a:srgbClr val="CC3333"/>
    </a:custClr>
    <a:custClr name="Green 0/102/102">
      <a:srgbClr val="006666"/>
    </a:custClr>
    <a:custClr name="Green 102/153/153">
      <a:srgbClr val="669999"/>
    </a:custClr>
    <a:custClr name="Green 0/153/51">
      <a:srgbClr val="009933"/>
    </a:custClr>
    <a:custClr name="Green 153/153/0">
      <a:srgbClr val="999900"/>
    </a:custClr>
    <a:custClr name="Green 204/204/0">
      <a:srgbClr val="CCCC00"/>
    </a:custClr>
    <a:custClr name="Yellow 255/153/0">
      <a:srgbClr val="FF9900"/>
    </a:custClr>
  </a:custClrLst>
</a:theme>
</file>

<file path=ppt/theme/theme7.xml><?xml version="1.0" encoding="utf-8"?>
<a:theme xmlns:a="http://schemas.openxmlformats.org/drawingml/2006/main" name="3_170215_BI-PPT_Template_4-3_new">
  <a:themeElements>
    <a:clrScheme name="BI Theme Colors Top">
      <a:dk1>
        <a:sysClr val="windowText" lastClr="000000"/>
      </a:dk1>
      <a:lt1>
        <a:sysClr val="window" lastClr="FFFFFF"/>
      </a:lt1>
      <a:dk2>
        <a:srgbClr val="336699"/>
      </a:dk2>
      <a:lt2>
        <a:srgbClr val="FFFFFF"/>
      </a:lt2>
      <a:accent1>
        <a:srgbClr val="003366"/>
      </a:accent1>
      <a:accent2>
        <a:srgbClr val="336699"/>
      </a:accent2>
      <a:accent3>
        <a:srgbClr val="6699CC"/>
      </a:accent3>
      <a:accent4>
        <a:srgbClr val="CC3333"/>
      </a:accent4>
      <a:accent5>
        <a:srgbClr val="669999"/>
      </a:accent5>
      <a:accent6>
        <a:srgbClr val="999900"/>
      </a:accent6>
      <a:hlink>
        <a:srgbClr val="0066CC"/>
      </a:hlink>
      <a:folHlink>
        <a:srgbClr val="FF9900"/>
      </a:folHlink>
    </a:clrScheme>
    <a:fontScheme name="BI Designfont">
      <a:majorFont>
        <a:latin typeface="BISansCond"/>
        <a:ea typeface=""/>
        <a:cs typeface=""/>
      </a:majorFont>
      <a:minorFont>
        <a:latin typeface="BISans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12700">
          <a:solidFill>
            <a:srgbClr val="003366"/>
          </a:solidFill>
        </a:ln>
      </a:spPr>
      <a:bodyPr lIns="72000" tIns="72000" rIns="72000" bIns="72000" rtlCol="0" anchor="ctr"/>
      <a:lstStyle>
        <a:defPPr algn="ctr">
          <a:defRPr sz="14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rgbClr val="00336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defRPr sz="1400" dirty="0" smtClean="0"/>
        </a:defPPr>
      </a:lstStyle>
    </a:txDef>
  </a:objectDefaults>
  <a:extraClrSchemeLst/>
  <a:custClrLst>
    <a:custClr name="Blue 0/51/102">
      <a:srgbClr val="003366"/>
    </a:custClr>
    <a:custClr name="Blue 51/102/153">
      <a:srgbClr val="336699"/>
    </a:custClr>
    <a:custClr name="Blue 102/153/204">
      <a:srgbClr val="6699CC"/>
    </a:custClr>
    <a:custClr name="Blue 153/204/255">
      <a:srgbClr val="99CCFF"/>
    </a:custClr>
    <a:custClr name="Blue 0/102/204">
      <a:srgbClr val="0066CC"/>
    </a:custClr>
    <a:custClr name="Red 204/51/51">
      <a:srgbClr val="CC3333"/>
    </a:custClr>
    <a:custClr name="Green 0/102/102">
      <a:srgbClr val="006666"/>
    </a:custClr>
    <a:custClr name="Green 102/153/153">
      <a:srgbClr val="669999"/>
    </a:custClr>
    <a:custClr name="Green 0/153/51">
      <a:srgbClr val="009933"/>
    </a:custClr>
    <a:custClr name="Green 153/153/0">
      <a:srgbClr val="999900"/>
    </a:custClr>
    <a:custClr name="Green 204/204/0">
      <a:srgbClr val="CCCC00"/>
    </a:custClr>
    <a:custClr name="Yellow 255/153/0">
      <a:srgbClr val="FF9900"/>
    </a:custClr>
  </a:custClrLst>
</a:theme>
</file>

<file path=ppt/theme/theme8.xml><?xml version="1.0" encoding="utf-8"?>
<a:theme xmlns:a="http://schemas.openxmlformats.org/drawingml/2006/main" name="5_170215_BI-PPT_Template_4-3_new">
  <a:themeElements>
    <a:clrScheme name="BI Theme Colors Top">
      <a:dk1>
        <a:sysClr val="windowText" lastClr="000000"/>
      </a:dk1>
      <a:lt1>
        <a:sysClr val="window" lastClr="FFFFFF"/>
      </a:lt1>
      <a:dk2>
        <a:srgbClr val="336699"/>
      </a:dk2>
      <a:lt2>
        <a:srgbClr val="FFFFFF"/>
      </a:lt2>
      <a:accent1>
        <a:srgbClr val="003366"/>
      </a:accent1>
      <a:accent2>
        <a:srgbClr val="336699"/>
      </a:accent2>
      <a:accent3>
        <a:srgbClr val="6699CC"/>
      </a:accent3>
      <a:accent4>
        <a:srgbClr val="CC3333"/>
      </a:accent4>
      <a:accent5>
        <a:srgbClr val="669999"/>
      </a:accent5>
      <a:accent6>
        <a:srgbClr val="999900"/>
      </a:accent6>
      <a:hlink>
        <a:srgbClr val="0066CC"/>
      </a:hlink>
      <a:folHlink>
        <a:srgbClr val="FF9900"/>
      </a:folHlink>
    </a:clrScheme>
    <a:fontScheme name="BI Designfont">
      <a:majorFont>
        <a:latin typeface="BISansCond"/>
        <a:ea typeface=""/>
        <a:cs typeface=""/>
      </a:majorFont>
      <a:minorFont>
        <a:latin typeface="BISans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12700">
          <a:solidFill>
            <a:srgbClr val="003366"/>
          </a:solidFill>
        </a:ln>
      </a:spPr>
      <a:bodyPr lIns="72000" tIns="72000" rIns="72000" bIns="72000" rtlCol="0" anchor="ctr"/>
      <a:lstStyle>
        <a:defPPr algn="ctr">
          <a:defRPr sz="14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rgbClr val="00336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defRPr sz="1400" dirty="0" smtClean="0"/>
        </a:defPPr>
      </a:lstStyle>
    </a:txDef>
  </a:objectDefaults>
  <a:extraClrSchemeLst/>
  <a:custClrLst>
    <a:custClr name="Blue 0/51/102">
      <a:srgbClr val="003366"/>
    </a:custClr>
    <a:custClr name="Blue 51/102/153">
      <a:srgbClr val="336699"/>
    </a:custClr>
    <a:custClr name="Blue 102/153/204">
      <a:srgbClr val="6699CC"/>
    </a:custClr>
    <a:custClr name="Blue 153/204/255">
      <a:srgbClr val="99CCFF"/>
    </a:custClr>
    <a:custClr name="Blue 0/102/204">
      <a:srgbClr val="0066CC"/>
    </a:custClr>
    <a:custClr name="Red 204/51/51">
      <a:srgbClr val="CC3333"/>
    </a:custClr>
    <a:custClr name="Green 0/102/102">
      <a:srgbClr val="006666"/>
    </a:custClr>
    <a:custClr name="Green 102/153/153">
      <a:srgbClr val="669999"/>
    </a:custClr>
    <a:custClr name="Green 0/153/51">
      <a:srgbClr val="009933"/>
    </a:custClr>
    <a:custClr name="Green 153/153/0">
      <a:srgbClr val="999900"/>
    </a:custClr>
    <a:custClr name="Green 204/204/0">
      <a:srgbClr val="CCCC00"/>
    </a:custClr>
    <a:custClr name="Yellow 255/153/0">
      <a:srgbClr val="FF9900"/>
    </a:custClr>
  </a:custClrLst>
</a:theme>
</file>

<file path=ppt/theme/theme9.xml><?xml version="1.0" encoding="utf-8"?>
<a:theme xmlns:a="http://schemas.openxmlformats.org/drawingml/2006/main" name="6_170215_BI-PPT_Template_4-3_new">
  <a:themeElements>
    <a:clrScheme name="BI Theme Colors Top">
      <a:dk1>
        <a:sysClr val="windowText" lastClr="000000"/>
      </a:dk1>
      <a:lt1>
        <a:sysClr val="window" lastClr="FFFFFF"/>
      </a:lt1>
      <a:dk2>
        <a:srgbClr val="336699"/>
      </a:dk2>
      <a:lt2>
        <a:srgbClr val="FFFFFF"/>
      </a:lt2>
      <a:accent1>
        <a:srgbClr val="003366"/>
      </a:accent1>
      <a:accent2>
        <a:srgbClr val="336699"/>
      </a:accent2>
      <a:accent3>
        <a:srgbClr val="6699CC"/>
      </a:accent3>
      <a:accent4>
        <a:srgbClr val="CC3333"/>
      </a:accent4>
      <a:accent5>
        <a:srgbClr val="669999"/>
      </a:accent5>
      <a:accent6>
        <a:srgbClr val="999900"/>
      </a:accent6>
      <a:hlink>
        <a:srgbClr val="0066CC"/>
      </a:hlink>
      <a:folHlink>
        <a:srgbClr val="FF9900"/>
      </a:folHlink>
    </a:clrScheme>
    <a:fontScheme name="BI Designfont">
      <a:majorFont>
        <a:latin typeface="BISansCond"/>
        <a:ea typeface=""/>
        <a:cs typeface=""/>
      </a:majorFont>
      <a:minorFont>
        <a:latin typeface="BISans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12700">
          <a:solidFill>
            <a:srgbClr val="003366"/>
          </a:solidFill>
        </a:ln>
      </a:spPr>
      <a:bodyPr lIns="72000" tIns="72000" rIns="72000" bIns="72000" rtlCol="0" anchor="ctr"/>
      <a:lstStyle>
        <a:defPPr algn="ctr">
          <a:defRPr sz="14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rgbClr val="00336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defRPr sz="1400" dirty="0" smtClean="0"/>
        </a:defPPr>
      </a:lstStyle>
    </a:txDef>
  </a:objectDefaults>
  <a:extraClrSchemeLst/>
  <a:custClrLst>
    <a:custClr name="Blue 0/51/102">
      <a:srgbClr val="003366"/>
    </a:custClr>
    <a:custClr name="Blue 51/102/153">
      <a:srgbClr val="336699"/>
    </a:custClr>
    <a:custClr name="Blue 102/153/204">
      <a:srgbClr val="6699CC"/>
    </a:custClr>
    <a:custClr name="Blue 153/204/255">
      <a:srgbClr val="99CCFF"/>
    </a:custClr>
    <a:custClr name="Blue 0/102/204">
      <a:srgbClr val="0066CC"/>
    </a:custClr>
    <a:custClr name="Red 204/51/51">
      <a:srgbClr val="CC3333"/>
    </a:custClr>
    <a:custClr name="Green 0/102/102">
      <a:srgbClr val="006666"/>
    </a:custClr>
    <a:custClr name="Green 102/153/153">
      <a:srgbClr val="669999"/>
    </a:custClr>
    <a:custClr name="Green 0/153/51">
      <a:srgbClr val="009933"/>
    </a:custClr>
    <a:custClr name="Green 153/153/0">
      <a:srgbClr val="999900"/>
    </a:custClr>
    <a:custClr name="Green 204/204/0">
      <a:srgbClr val="CCCC00"/>
    </a:custClr>
    <a:custClr name="Yellow 255/153/0">
      <a:srgbClr val="FF9900"/>
    </a:custClr>
  </a:custClr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77515</TotalTime>
  <Words>91</Words>
  <Application>Microsoft Office PowerPoint</Application>
  <PresentationFormat>Widescreen</PresentationFormat>
  <Paragraphs>23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11</vt:i4>
      </vt:variant>
      <vt:variant>
        <vt:lpstr>Theme</vt:lpstr>
      </vt:variant>
      <vt:variant>
        <vt:i4>1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27" baseType="lpstr">
      <vt:lpstr>BISans</vt:lpstr>
      <vt:lpstr>BISansCond</vt:lpstr>
      <vt:lpstr>BISansOpti</vt:lpstr>
      <vt:lpstr>BISansOptiCond</vt:lpstr>
      <vt:lpstr>PMingLiU</vt:lpstr>
      <vt:lpstr>Arial</vt:lpstr>
      <vt:lpstr>Calibri</vt:lpstr>
      <vt:lpstr>Lato</vt:lpstr>
      <vt:lpstr>Tahoma</vt:lpstr>
      <vt:lpstr>Times</vt:lpstr>
      <vt:lpstr>Wingdings</vt:lpstr>
      <vt:lpstr>4_blank</vt:lpstr>
      <vt:lpstr>34_blank</vt:lpstr>
      <vt:lpstr>14_blank</vt:lpstr>
      <vt:lpstr>1_blank</vt:lpstr>
      <vt:lpstr>170215_BI-PPT_Template_4-3_new</vt:lpstr>
      <vt:lpstr>2_170215_BI-PPT_Template_4-3_new</vt:lpstr>
      <vt:lpstr>3_170215_BI-PPT_Template_4-3_new</vt:lpstr>
      <vt:lpstr>5_170215_BI-PPT_Template_4-3_new</vt:lpstr>
      <vt:lpstr>6_170215_BI-PPT_Template_4-3_new</vt:lpstr>
      <vt:lpstr>1_SPAF MSL theme</vt:lpstr>
      <vt:lpstr>1_2017 HPBU Regions world 3_4</vt:lpstr>
      <vt:lpstr>1_BI_Corporate_16_9</vt:lpstr>
      <vt:lpstr>3_2017 HPBU Regions world 3_4</vt:lpstr>
      <vt:lpstr>4_2017 HPBU Regions world 3_4</vt:lpstr>
      <vt:lpstr>think-cell Slide</vt:lpstr>
      <vt:lpstr>PowerPoint Presentation</vt:lpstr>
    </vt:vector>
  </TitlesOfParts>
  <Company>Boehringer Ingelheim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xecutive Summary- Pradaxa</dc:title>
  <dc:creator>Hou,Jeff (PM EM RC) BI-TW-T</dc:creator>
  <cp:lastModifiedBy>Mindy CHAO</cp:lastModifiedBy>
  <cp:revision>1154</cp:revision>
  <dcterms:created xsi:type="dcterms:W3CDTF">2016-09-21T06:22:27Z</dcterms:created>
  <dcterms:modified xsi:type="dcterms:W3CDTF">2021-12-14T06:49:08Z</dcterms:modified>
</cp:coreProperties>
</file>